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6" r:id="rId1"/>
  </p:sldMasterIdLst>
  <p:notesMasterIdLst>
    <p:notesMasterId r:id="rId5"/>
  </p:notesMasterIdLst>
  <p:sldIdLst>
    <p:sldId id="259" r:id="rId2"/>
    <p:sldId id="260" r:id="rId3"/>
    <p:sldId id="262" r:id="rId4"/>
  </p:sldIdLst>
  <p:sldSz cx="9906000" cy="6858000" type="A4"/>
  <p:notesSz cx="6858000" cy="9144000"/>
  <p:custDataLst>
    <p:tags r:id="rId6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16">
          <p15:clr>
            <a:srgbClr val="A4A3A4"/>
          </p15:clr>
        </p15:guide>
        <p15:guide id="2" orient="horz" pos="3941">
          <p15:clr>
            <a:srgbClr val="A4A3A4"/>
          </p15:clr>
        </p15:guide>
        <p15:guide id="3" pos="316">
          <p15:clr>
            <a:srgbClr val="A4A3A4"/>
          </p15:clr>
        </p15:guide>
        <p15:guide id="4" pos="592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234"/>
    <a:srgbClr val="404040"/>
    <a:srgbClr val="6E9817"/>
    <a:srgbClr val="70707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98" autoAdjust="0"/>
    <p:restoredTop sz="94726" autoAdjust="0"/>
  </p:normalViewPr>
  <p:slideViewPr>
    <p:cSldViewPr snapToGrid="0" snapToObjects="1">
      <p:cViewPr varScale="1">
        <p:scale>
          <a:sx n="116" d="100"/>
          <a:sy n="116" d="100"/>
        </p:scale>
        <p:origin x="1566" y="84"/>
      </p:cViewPr>
      <p:guideLst>
        <p:guide orient="horz" pos="1016"/>
        <p:guide orient="horz" pos="3941"/>
        <p:guide pos="316"/>
        <p:guide pos="5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5/10/relationships/revisionInfo" Target="revisionInfo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64D994-6ED6-42D7-94CF-2BF48349FE6A}" type="datetimeFigureOut">
              <a:rPr lang="en-US"/>
              <a:pPr>
                <a:defRPr/>
              </a:pPr>
              <a:t>8/1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nl-NL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747C5EF-5EF1-4B14-8A37-05F16DBD83A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3031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/>
          <p:cNvSpPr/>
          <p:nvPr userDrawn="1"/>
        </p:nvSpPr>
        <p:spPr>
          <a:xfrm>
            <a:off x="-6350" y="0"/>
            <a:ext cx="6865938" cy="3413125"/>
          </a:xfrm>
          <a:custGeom>
            <a:avLst/>
            <a:gdLst>
              <a:gd name="connsiteX0" fmla="*/ 0 w 4218306"/>
              <a:gd name="connsiteY0" fmla="*/ 0 h 3413283"/>
              <a:gd name="connsiteX1" fmla="*/ 4218306 w 4218306"/>
              <a:gd name="connsiteY1" fmla="*/ 0 h 3413283"/>
              <a:gd name="connsiteX2" fmla="*/ 4218306 w 4218306"/>
              <a:gd name="connsiteY2" fmla="*/ 3413283 h 3413283"/>
              <a:gd name="connsiteX3" fmla="*/ 0 w 4218306"/>
              <a:gd name="connsiteY3" fmla="*/ 3413283 h 3413283"/>
              <a:gd name="connsiteX4" fmla="*/ 0 w 4218306"/>
              <a:gd name="connsiteY4" fmla="*/ 0 h 3413283"/>
              <a:gd name="connsiteX0" fmla="*/ 0 w 4999356"/>
              <a:gd name="connsiteY0" fmla="*/ 0 h 3413283"/>
              <a:gd name="connsiteX1" fmla="*/ 4999356 w 4999356"/>
              <a:gd name="connsiteY1" fmla="*/ 6350 h 3413283"/>
              <a:gd name="connsiteX2" fmla="*/ 4218306 w 4999356"/>
              <a:gd name="connsiteY2" fmla="*/ 3413283 h 3413283"/>
              <a:gd name="connsiteX3" fmla="*/ 0 w 4999356"/>
              <a:gd name="connsiteY3" fmla="*/ 3413283 h 3413283"/>
              <a:gd name="connsiteX4" fmla="*/ 0 w 4999356"/>
              <a:gd name="connsiteY4" fmla="*/ 0 h 3413283"/>
              <a:gd name="connsiteX0" fmla="*/ 0 w 4999356"/>
              <a:gd name="connsiteY0" fmla="*/ 0 h 3413283"/>
              <a:gd name="connsiteX1" fmla="*/ 4999356 w 4999356"/>
              <a:gd name="connsiteY1" fmla="*/ 6350 h 3413283"/>
              <a:gd name="connsiteX2" fmla="*/ 4218306 w 4999356"/>
              <a:gd name="connsiteY2" fmla="*/ 3413283 h 3413283"/>
              <a:gd name="connsiteX3" fmla="*/ 0 w 4999356"/>
              <a:gd name="connsiteY3" fmla="*/ 3413283 h 3413283"/>
              <a:gd name="connsiteX4" fmla="*/ 0 w 4999356"/>
              <a:gd name="connsiteY4" fmla="*/ 787400 h 3413283"/>
              <a:gd name="connsiteX5" fmla="*/ 0 w 4999356"/>
              <a:gd name="connsiteY5" fmla="*/ 0 h 3413283"/>
              <a:gd name="connsiteX0" fmla="*/ 1879600 w 6878956"/>
              <a:gd name="connsiteY0" fmla="*/ 0 h 3413283"/>
              <a:gd name="connsiteX1" fmla="*/ 6878956 w 6878956"/>
              <a:gd name="connsiteY1" fmla="*/ 6350 h 3413283"/>
              <a:gd name="connsiteX2" fmla="*/ 6097906 w 6878956"/>
              <a:gd name="connsiteY2" fmla="*/ 3413283 h 3413283"/>
              <a:gd name="connsiteX3" fmla="*/ 1879600 w 6878956"/>
              <a:gd name="connsiteY3" fmla="*/ 3413283 h 3413283"/>
              <a:gd name="connsiteX4" fmla="*/ 0 w 6878956"/>
              <a:gd name="connsiteY4" fmla="*/ 1104900 h 3413283"/>
              <a:gd name="connsiteX5" fmla="*/ 1879600 w 6878956"/>
              <a:gd name="connsiteY5" fmla="*/ 0 h 3413283"/>
              <a:gd name="connsiteX0" fmla="*/ 12700 w 6878956"/>
              <a:gd name="connsiteY0" fmla="*/ 0 h 3413283"/>
              <a:gd name="connsiteX1" fmla="*/ 6878956 w 6878956"/>
              <a:gd name="connsiteY1" fmla="*/ 6350 h 3413283"/>
              <a:gd name="connsiteX2" fmla="*/ 6097906 w 6878956"/>
              <a:gd name="connsiteY2" fmla="*/ 3413283 h 3413283"/>
              <a:gd name="connsiteX3" fmla="*/ 1879600 w 6878956"/>
              <a:gd name="connsiteY3" fmla="*/ 3413283 h 3413283"/>
              <a:gd name="connsiteX4" fmla="*/ 0 w 6878956"/>
              <a:gd name="connsiteY4" fmla="*/ 1104900 h 3413283"/>
              <a:gd name="connsiteX5" fmla="*/ 12700 w 6878956"/>
              <a:gd name="connsiteY5" fmla="*/ 0 h 3413283"/>
              <a:gd name="connsiteX0" fmla="*/ 0 w 6866256"/>
              <a:gd name="connsiteY0" fmla="*/ 0 h 3413283"/>
              <a:gd name="connsiteX1" fmla="*/ 6866256 w 6866256"/>
              <a:gd name="connsiteY1" fmla="*/ 6350 h 3413283"/>
              <a:gd name="connsiteX2" fmla="*/ 6085206 w 6866256"/>
              <a:gd name="connsiteY2" fmla="*/ 3413283 h 3413283"/>
              <a:gd name="connsiteX3" fmla="*/ 1866900 w 6866256"/>
              <a:gd name="connsiteY3" fmla="*/ 3413283 h 3413283"/>
              <a:gd name="connsiteX4" fmla="*/ 3175 w 6866256"/>
              <a:gd name="connsiteY4" fmla="*/ 1127125 h 3413283"/>
              <a:gd name="connsiteX5" fmla="*/ 0 w 6866256"/>
              <a:gd name="connsiteY5" fmla="*/ 0 h 3413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66256" h="3413283">
                <a:moveTo>
                  <a:pt x="0" y="0"/>
                </a:moveTo>
                <a:lnTo>
                  <a:pt x="6866256" y="6350"/>
                </a:lnTo>
                <a:lnTo>
                  <a:pt x="6085206" y="3413283"/>
                </a:lnTo>
                <a:lnTo>
                  <a:pt x="1866900" y="3413283"/>
                </a:lnTo>
                <a:lnTo>
                  <a:pt x="3175" y="1127125"/>
                </a:lnTo>
                <a:cubicBezTo>
                  <a:pt x="2117" y="751417"/>
                  <a:pt x="1058" y="375708"/>
                  <a:pt x="0" y="0"/>
                </a:cubicBezTo>
                <a:close/>
              </a:path>
            </a:pathLst>
          </a:custGeom>
          <a:solidFill>
            <a:srgbClr val="FAFAFA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BBA00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01650" y="3929067"/>
            <a:ext cx="8904288" cy="912812"/>
          </a:xfrm>
          <a:noFill/>
        </p:spPr>
        <p:txBody>
          <a:bodyPr tIns="0" bIns="0">
            <a:noAutofit/>
          </a:bodyPr>
          <a:lstStyle>
            <a:lvl1pPr marL="0" algn="l" defTabSz="457200" rtl="0" eaLnBrk="1" fontAlgn="base" latinLnBrk="0" hangingPunct="1">
              <a:spcBef>
                <a:spcPct val="0"/>
              </a:spcBef>
              <a:spcAft>
                <a:spcPct val="0"/>
              </a:spcAft>
              <a:defRPr lang="en-GB" sz="3000" b="1" kern="1200" dirty="0" smtClean="0">
                <a:solidFill>
                  <a:schemeClr val="tx2"/>
                </a:solidFill>
                <a:latin typeface="Sakkal Majalla" panose="02000000000000000000" pitchFamily="2" charset="-78"/>
                <a:ea typeface="+mj-ea"/>
                <a:cs typeface="Sakkal Majalla" panose="02000000000000000000" pitchFamily="2" charset="-78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01650" y="4854578"/>
            <a:ext cx="8904288" cy="614370"/>
          </a:xfrm>
        </p:spPr>
        <p:txBody>
          <a:bodyPr>
            <a:noAutofit/>
          </a:bodyPr>
          <a:lstStyle>
            <a:lvl1pPr marL="0" indent="0" algn="l" defTabSz="457200" rtl="0" eaLnBrk="1" fontAlgn="base" latinLnBrk="0" hangingPunct="1">
              <a:spcBef>
                <a:spcPct val="20000"/>
              </a:spcBef>
              <a:spcAft>
                <a:spcPct val="0"/>
              </a:spcAft>
              <a:buNone/>
              <a:defRPr lang="en-GB" sz="2800" b="1" kern="1200" baseline="0" dirty="0" smtClean="0">
                <a:solidFill>
                  <a:schemeClr val="tx1"/>
                </a:solidFill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01650" y="6213299"/>
            <a:ext cx="8904288" cy="377999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None/>
              <a:defRPr lang="en-US" sz="2000" b="0" kern="1200" dirty="0" smtClean="0">
                <a:solidFill>
                  <a:schemeClr val="tx1"/>
                </a:solidFill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763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/>
          <p:cNvSpPr/>
          <p:nvPr userDrawn="1"/>
        </p:nvSpPr>
        <p:spPr>
          <a:xfrm>
            <a:off x="7762875" y="-4763"/>
            <a:ext cx="2152650" cy="1257301"/>
          </a:xfrm>
          <a:custGeom>
            <a:avLst/>
            <a:gdLst>
              <a:gd name="connsiteX0" fmla="*/ 0 w 1362076"/>
              <a:gd name="connsiteY0" fmla="*/ 0 h 1257302"/>
              <a:gd name="connsiteX1" fmla="*/ 1362076 w 1362076"/>
              <a:gd name="connsiteY1" fmla="*/ 0 h 1257302"/>
              <a:gd name="connsiteX2" fmla="*/ 1362076 w 1362076"/>
              <a:gd name="connsiteY2" fmla="*/ 1257302 h 1257302"/>
              <a:gd name="connsiteX3" fmla="*/ 0 w 1362076"/>
              <a:gd name="connsiteY3" fmla="*/ 1257302 h 1257302"/>
              <a:gd name="connsiteX4" fmla="*/ 0 w 1362076"/>
              <a:gd name="connsiteY4" fmla="*/ 0 h 1257302"/>
              <a:gd name="connsiteX0" fmla="*/ 0 w 1362076"/>
              <a:gd name="connsiteY0" fmla="*/ 0 h 1257302"/>
              <a:gd name="connsiteX1" fmla="*/ 1362076 w 1362076"/>
              <a:gd name="connsiteY1" fmla="*/ 0 h 1257302"/>
              <a:gd name="connsiteX2" fmla="*/ 1362076 w 1362076"/>
              <a:gd name="connsiteY2" fmla="*/ 1257302 h 1257302"/>
              <a:gd name="connsiteX3" fmla="*/ 1304925 w 1362076"/>
              <a:gd name="connsiteY3" fmla="*/ 1257302 h 1257302"/>
              <a:gd name="connsiteX4" fmla="*/ 0 w 1362076"/>
              <a:gd name="connsiteY4" fmla="*/ 1257302 h 1257302"/>
              <a:gd name="connsiteX5" fmla="*/ 0 w 1362076"/>
              <a:gd name="connsiteY5" fmla="*/ 0 h 1257302"/>
              <a:gd name="connsiteX0" fmla="*/ 790575 w 2152651"/>
              <a:gd name="connsiteY0" fmla="*/ 0 h 1257302"/>
              <a:gd name="connsiteX1" fmla="*/ 2152651 w 2152651"/>
              <a:gd name="connsiteY1" fmla="*/ 0 h 1257302"/>
              <a:gd name="connsiteX2" fmla="*/ 2152651 w 2152651"/>
              <a:gd name="connsiteY2" fmla="*/ 1257302 h 1257302"/>
              <a:gd name="connsiteX3" fmla="*/ 2095500 w 2152651"/>
              <a:gd name="connsiteY3" fmla="*/ 1257302 h 1257302"/>
              <a:gd name="connsiteX4" fmla="*/ 0 w 2152651"/>
              <a:gd name="connsiteY4" fmla="*/ 928689 h 1257302"/>
              <a:gd name="connsiteX5" fmla="*/ 790575 w 2152651"/>
              <a:gd name="connsiteY5" fmla="*/ 0 h 1257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52651" h="1257302">
                <a:moveTo>
                  <a:pt x="790575" y="0"/>
                </a:moveTo>
                <a:lnTo>
                  <a:pt x="2152651" y="0"/>
                </a:lnTo>
                <a:lnTo>
                  <a:pt x="2152651" y="1257302"/>
                </a:lnTo>
                <a:lnTo>
                  <a:pt x="2095500" y="1257302"/>
                </a:lnTo>
                <a:lnTo>
                  <a:pt x="0" y="928689"/>
                </a:lnTo>
                <a:lnTo>
                  <a:pt x="790575" y="0"/>
                </a:lnTo>
                <a:close/>
              </a:path>
            </a:pathLst>
          </a:custGeom>
          <a:solidFill>
            <a:srgbClr val="F4F4F4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3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 anchorCtr="1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1252538"/>
            <a:ext cx="9906000" cy="560546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 anchorCtr="1"/>
          <a:lstStyle/>
          <a:p>
            <a:pPr algn="ctr" rtl="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TextBox 7"/>
          <p:cNvSpPr txBox="1">
            <a:spLocks noChangeArrowheads="1"/>
          </p:cNvSpPr>
          <p:nvPr userDrawn="1"/>
        </p:nvSpPr>
        <p:spPr bwMode="auto">
          <a:xfrm>
            <a:off x="9193213" y="6673850"/>
            <a:ext cx="190500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rtl="0" eaLnBrk="1" hangingPunct="1">
              <a:buSzPct val="100000"/>
              <a:defRPr/>
            </a:pPr>
            <a:fld id="{619F2A57-6606-4549-86E0-BAD3513EDF3D}" type="slidenum">
              <a:rPr lang="en-US" sz="1000" smtClean="0">
                <a:solidFill>
                  <a:srgbClr val="40404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pPr algn="l" rtl="0" eaLnBrk="1" hangingPunct="1">
                <a:buSzPct val="100000"/>
                <a:defRPr/>
              </a:pPr>
              <a:t>‹#›</a:t>
            </a:fld>
            <a:endParaRPr lang="ar-JO" sz="1000">
              <a:solidFill>
                <a:srgbClr val="40404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aphicFrame>
        <p:nvGraphicFramePr>
          <p:cNvPr id="11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9423" y="71438"/>
            <a:ext cx="7986713" cy="1143000"/>
          </a:xfrm>
        </p:spPr>
        <p:txBody>
          <a:bodyPr/>
          <a:lstStyle>
            <a:lvl1pPr algn="l" rtl="0">
              <a:defRPr>
                <a:solidFill>
                  <a:schemeClr val="tx2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93776" y="1600200"/>
            <a:ext cx="8887968" cy="4636008"/>
          </a:xfrm>
        </p:spPr>
        <p:txBody>
          <a:bodyPr/>
          <a:lstStyle>
            <a:lvl1pPr rtl="0">
              <a:spcBef>
                <a:spcPts val="0"/>
              </a:spcBef>
              <a:defRPr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  <a:lvl2pPr rtl="0">
              <a:spcBef>
                <a:spcPts val="0"/>
              </a:spcBef>
              <a:defRPr>
                <a:latin typeface="Sakkal Majalla" panose="02000000000000000000" pitchFamily="2" charset="-78"/>
                <a:cs typeface="Sakkal Majalla" panose="02000000000000000000" pitchFamily="2" charset="-78"/>
              </a:defRPr>
            </a:lvl2pPr>
            <a:lvl3pPr rtl="0">
              <a:spcBef>
                <a:spcPts val="0"/>
              </a:spcBef>
              <a:defRPr>
                <a:latin typeface="Sakkal Majalla" panose="02000000000000000000" pitchFamily="2" charset="-78"/>
                <a:cs typeface="Sakkal Majalla" panose="02000000000000000000" pitchFamily="2" charset="-78"/>
              </a:defRPr>
            </a:lvl3pPr>
            <a:lvl4pPr rtl="0">
              <a:spcBef>
                <a:spcPts val="0"/>
              </a:spcBef>
              <a:defRPr>
                <a:latin typeface="Sakkal Majalla" panose="02000000000000000000" pitchFamily="2" charset="-78"/>
                <a:cs typeface="Sakkal Majalla" panose="02000000000000000000" pitchFamily="2" charset="-78"/>
              </a:defRPr>
            </a:lvl4pPr>
            <a:lvl5pPr rtl="0">
              <a:spcBef>
                <a:spcPts val="0"/>
              </a:spcBef>
              <a:defRPr>
                <a:latin typeface="Sakkal Majalla" panose="02000000000000000000" pitchFamily="2" charset="-78"/>
                <a:cs typeface="Sakkal Majalla" panose="02000000000000000000" pitchFamily="2" charset="-78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5357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97822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17094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20475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6" cy="4590288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576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452138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7762875" y="-4763"/>
            <a:ext cx="2152650" cy="1257301"/>
          </a:xfrm>
          <a:custGeom>
            <a:avLst/>
            <a:gdLst>
              <a:gd name="connsiteX0" fmla="*/ 0 w 1362076"/>
              <a:gd name="connsiteY0" fmla="*/ 0 h 1257302"/>
              <a:gd name="connsiteX1" fmla="*/ 1362076 w 1362076"/>
              <a:gd name="connsiteY1" fmla="*/ 0 h 1257302"/>
              <a:gd name="connsiteX2" fmla="*/ 1362076 w 1362076"/>
              <a:gd name="connsiteY2" fmla="*/ 1257302 h 1257302"/>
              <a:gd name="connsiteX3" fmla="*/ 0 w 1362076"/>
              <a:gd name="connsiteY3" fmla="*/ 1257302 h 1257302"/>
              <a:gd name="connsiteX4" fmla="*/ 0 w 1362076"/>
              <a:gd name="connsiteY4" fmla="*/ 0 h 1257302"/>
              <a:gd name="connsiteX0" fmla="*/ 0 w 1362076"/>
              <a:gd name="connsiteY0" fmla="*/ 0 h 1257302"/>
              <a:gd name="connsiteX1" fmla="*/ 1362076 w 1362076"/>
              <a:gd name="connsiteY1" fmla="*/ 0 h 1257302"/>
              <a:gd name="connsiteX2" fmla="*/ 1362076 w 1362076"/>
              <a:gd name="connsiteY2" fmla="*/ 1257302 h 1257302"/>
              <a:gd name="connsiteX3" fmla="*/ 1304925 w 1362076"/>
              <a:gd name="connsiteY3" fmla="*/ 1257302 h 1257302"/>
              <a:gd name="connsiteX4" fmla="*/ 0 w 1362076"/>
              <a:gd name="connsiteY4" fmla="*/ 1257302 h 1257302"/>
              <a:gd name="connsiteX5" fmla="*/ 0 w 1362076"/>
              <a:gd name="connsiteY5" fmla="*/ 0 h 1257302"/>
              <a:gd name="connsiteX0" fmla="*/ 790575 w 2152651"/>
              <a:gd name="connsiteY0" fmla="*/ 0 h 1257302"/>
              <a:gd name="connsiteX1" fmla="*/ 2152651 w 2152651"/>
              <a:gd name="connsiteY1" fmla="*/ 0 h 1257302"/>
              <a:gd name="connsiteX2" fmla="*/ 2152651 w 2152651"/>
              <a:gd name="connsiteY2" fmla="*/ 1257302 h 1257302"/>
              <a:gd name="connsiteX3" fmla="*/ 2095500 w 2152651"/>
              <a:gd name="connsiteY3" fmla="*/ 1257302 h 1257302"/>
              <a:gd name="connsiteX4" fmla="*/ 0 w 2152651"/>
              <a:gd name="connsiteY4" fmla="*/ 928689 h 1257302"/>
              <a:gd name="connsiteX5" fmla="*/ 790575 w 2152651"/>
              <a:gd name="connsiteY5" fmla="*/ 0 h 1257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52651" h="1257302">
                <a:moveTo>
                  <a:pt x="790575" y="0"/>
                </a:moveTo>
                <a:lnTo>
                  <a:pt x="2152651" y="0"/>
                </a:lnTo>
                <a:lnTo>
                  <a:pt x="2152651" y="1257302"/>
                </a:lnTo>
                <a:lnTo>
                  <a:pt x="2095500" y="1257302"/>
                </a:lnTo>
                <a:lnTo>
                  <a:pt x="0" y="928689"/>
                </a:lnTo>
                <a:lnTo>
                  <a:pt x="790575" y="0"/>
                </a:lnTo>
                <a:close/>
              </a:path>
            </a:pathLst>
          </a:custGeom>
          <a:solidFill>
            <a:srgbClr val="F4F4F4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3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252538"/>
            <a:ext cx="9906000" cy="5605462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 anchorCtr="1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029" name="Title Placeholder 1"/>
          <p:cNvSpPr>
            <a:spLocks noGrp="1"/>
          </p:cNvSpPr>
          <p:nvPr>
            <p:ph type="title"/>
          </p:nvPr>
        </p:nvSpPr>
        <p:spPr bwMode="auto">
          <a:xfrm>
            <a:off x="1781175" y="71438"/>
            <a:ext cx="798671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888413" cy="463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32" name="TextBox 7"/>
          <p:cNvSpPr txBox="1">
            <a:spLocks noChangeArrowheads="1"/>
          </p:cNvSpPr>
          <p:nvPr userDrawn="1"/>
        </p:nvSpPr>
        <p:spPr bwMode="auto">
          <a:xfrm>
            <a:off x="9193213" y="6673850"/>
            <a:ext cx="190500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rtl="1" eaLnBrk="1" hangingPunct="1">
              <a:buSzPct val="100000"/>
              <a:defRPr/>
            </a:pPr>
            <a:fld id="{90EE576A-603F-4A78-9CF2-15C7242C45DA}" type="slidenum">
              <a:rPr lang="en-US" sz="1000" smtClean="0">
                <a:solidFill>
                  <a:srgbClr val="40404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pPr algn="r" rtl="1" eaLnBrk="1" hangingPunct="1">
                <a:buSzPct val="100000"/>
                <a:defRPr/>
              </a:pPr>
              <a:t>‹#›</a:t>
            </a:fld>
            <a:endParaRPr lang="ar-JO" sz="1000">
              <a:solidFill>
                <a:srgbClr val="40404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1" r:id="rId3"/>
    <p:sldLayoutId id="2147483682" r:id="rId4"/>
    <p:sldLayoutId id="2147483683" r:id="rId5"/>
    <p:sldLayoutId id="2147483684" r:id="rId6"/>
  </p:sldLayoutIdLst>
  <p:txStyles>
    <p:titleStyle>
      <a:lvl1pPr algn="r" defTabSz="457200" rtl="1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Sakkal Majalla" panose="02000000000000000000" pitchFamily="2" charset="-78"/>
          <a:ea typeface="+mj-ea"/>
          <a:cs typeface="Sakkal Majalla" panose="02000000000000000000" pitchFamily="2" charset="-78"/>
        </a:defRPr>
      </a:lvl1pPr>
      <a:lvl2pPr algn="r" defTabSz="457200" rtl="1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Sakkal Majalla" panose="02000000000000000000" pitchFamily="2" charset="-78"/>
          <a:cs typeface="Sakkal Majalla" panose="02000000000000000000" pitchFamily="2" charset="-78"/>
        </a:defRPr>
      </a:lvl2pPr>
      <a:lvl3pPr algn="r" defTabSz="457200" rtl="1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Sakkal Majalla" panose="02000000000000000000" pitchFamily="2" charset="-78"/>
          <a:cs typeface="Sakkal Majalla" panose="02000000000000000000" pitchFamily="2" charset="-78"/>
        </a:defRPr>
      </a:lvl3pPr>
      <a:lvl4pPr algn="r" defTabSz="457200" rtl="1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Sakkal Majalla" panose="02000000000000000000" pitchFamily="2" charset="-78"/>
          <a:cs typeface="Sakkal Majalla" panose="02000000000000000000" pitchFamily="2" charset="-78"/>
        </a:defRPr>
      </a:lvl4pPr>
      <a:lvl5pPr algn="r" defTabSz="457200" rtl="1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Sakkal Majalla" panose="02000000000000000000" pitchFamily="2" charset="-78"/>
          <a:cs typeface="Sakkal Majalla" panose="02000000000000000000" pitchFamily="2" charset="-7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rgbClr val="006234"/>
          </a:solidFill>
          <a:latin typeface="Anivers" pitchFamily="50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rgbClr val="006234"/>
          </a:solidFill>
          <a:latin typeface="Anivers" pitchFamily="50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rgbClr val="006234"/>
          </a:solidFill>
          <a:latin typeface="Anivers" pitchFamily="50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800">
          <a:solidFill>
            <a:srgbClr val="006234"/>
          </a:solidFill>
          <a:latin typeface="Anivers" pitchFamily="50" charset="0"/>
        </a:defRPr>
      </a:lvl9pPr>
    </p:titleStyle>
    <p:bodyStyle>
      <a:lvl1pPr algn="l" defTabSz="457200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1600" b="1" kern="1200">
          <a:solidFill>
            <a:schemeClr val="tx1"/>
          </a:solidFill>
          <a:latin typeface="Sakkal Majalla" panose="02000000000000000000" pitchFamily="2" charset="-78"/>
          <a:ea typeface="+mn-ea"/>
          <a:cs typeface="Sakkal Majalla" panose="02000000000000000000" pitchFamily="2" charset="-78"/>
        </a:defRPr>
      </a:lvl1pPr>
      <a:lvl2pPr marL="457200" indent="-228600" algn="l" defTabSz="457200" rtl="0" eaLnBrk="0" fontAlgn="base" hangingPunct="0">
        <a:spcBef>
          <a:spcPct val="0"/>
        </a:spcBef>
        <a:spcAft>
          <a:spcPct val="0"/>
        </a:spcAft>
        <a:buClr>
          <a:srgbClr val="006234"/>
        </a:buClr>
        <a:buFont typeface="Anivers"/>
        <a:buChar char="•"/>
        <a:defRPr sz="1600" kern="1200">
          <a:solidFill>
            <a:schemeClr val="tx1"/>
          </a:solidFill>
          <a:latin typeface="Sakkal Majalla" panose="02000000000000000000" pitchFamily="2" charset="-78"/>
          <a:ea typeface="+mn-ea"/>
          <a:cs typeface="Sakkal Majalla" panose="02000000000000000000" pitchFamily="2" charset="-78"/>
        </a:defRPr>
      </a:lvl2pPr>
      <a:lvl3pPr marL="685800" indent="-228600" algn="l" defTabSz="457200" rtl="0" eaLnBrk="0" fontAlgn="base" hangingPunct="0">
        <a:spcBef>
          <a:spcPct val="0"/>
        </a:spcBef>
        <a:spcAft>
          <a:spcPct val="0"/>
        </a:spcAft>
        <a:buClr>
          <a:srgbClr val="006234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Sakkal Majalla" panose="02000000000000000000" pitchFamily="2" charset="-78"/>
          <a:ea typeface="+mn-ea"/>
          <a:cs typeface="Sakkal Majalla" panose="02000000000000000000" pitchFamily="2" charset="-78"/>
        </a:defRPr>
      </a:lvl3pPr>
      <a:lvl4pPr marL="914400" indent="-228600" algn="l" defTabSz="457200" rtl="0" eaLnBrk="0" fontAlgn="base" hangingPunct="0">
        <a:spcBef>
          <a:spcPct val="0"/>
        </a:spcBef>
        <a:spcAft>
          <a:spcPct val="0"/>
        </a:spcAft>
        <a:buClr>
          <a:srgbClr val="006234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Sakkal Majalla" panose="02000000000000000000" pitchFamily="2" charset="-78"/>
          <a:ea typeface="+mn-ea"/>
          <a:cs typeface="Sakkal Majalla" panose="02000000000000000000" pitchFamily="2" charset="-78"/>
        </a:defRPr>
      </a:lvl4pPr>
      <a:lvl5pPr marL="1143000" indent="-228600" algn="l" defTabSz="457200" rtl="0" eaLnBrk="0" fontAlgn="base" hangingPunct="0">
        <a:spcBef>
          <a:spcPct val="0"/>
        </a:spcBef>
        <a:spcAft>
          <a:spcPct val="0"/>
        </a:spcAft>
        <a:buClr>
          <a:srgbClr val="006234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Sakkal Majalla" panose="02000000000000000000" pitchFamily="2" charset="-78"/>
          <a:ea typeface="+mn-ea"/>
          <a:cs typeface="Sakkal Majalla" panose="02000000000000000000" pitchFamily="2" charset="-7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1" name="Arrow: Pentagon 24"/>
          <p:cNvSpPr>
            <a:spLocks noChangeArrowheads="1"/>
          </p:cNvSpPr>
          <p:nvPr/>
        </p:nvSpPr>
        <p:spPr bwMode="auto">
          <a:xfrm rot="16200000" flipH="1">
            <a:off x="4706938" y="125413"/>
            <a:ext cx="492125" cy="7248525"/>
          </a:xfrm>
          <a:prstGeom prst="homePlate">
            <a:avLst>
              <a:gd name="adj" fmla="val 30125"/>
            </a:avLst>
          </a:prstGeom>
          <a:solidFill>
            <a:schemeClr val="hlink"/>
          </a:solidFill>
          <a:ln w="6350" algn="ctr">
            <a:solidFill>
              <a:srgbClr val="4C966F"/>
            </a:solidFill>
            <a:miter lim="800000"/>
            <a:headEnd/>
            <a:tailEnd/>
          </a:ln>
        </p:spPr>
        <p:txBody>
          <a:bodyPr vert="eaVert" anchor="ctr"/>
          <a:lstStyle>
            <a:lvl1pPr defTabSz="457200">
              <a:buFont typeface="Arial" panose="020B0604020202020204" pitchFamily="34" charset="0"/>
              <a:defRPr sz="1600" b="1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  <a:lvl2pPr indent="457200" defTabSz="457200">
              <a:buClr>
                <a:srgbClr val="006234"/>
              </a:buClr>
              <a:buFont typeface="Anivers"/>
              <a:buChar char="•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2pPr>
            <a:lvl3pPr marL="685800" indent="914400" defTabSz="457200">
              <a:buClr>
                <a:srgbClr val="006234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3pPr>
            <a:lvl4pPr marL="914400" indent="1371600" defTabSz="457200">
              <a:buClr>
                <a:srgbClr val="006234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4pPr>
            <a:lvl5pPr marL="1143000" indent="1828800" defTabSz="457200">
              <a:buClr>
                <a:srgbClr val="006234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5pPr>
            <a:lvl6pPr marL="1600200" indent="18288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234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6pPr>
            <a:lvl7pPr marL="2057400" indent="18288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234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7pPr>
            <a:lvl8pPr marL="2514600" indent="18288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234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8pPr>
            <a:lvl9pPr marL="2971800" indent="18288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234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9pPr>
          </a:lstStyle>
          <a:p>
            <a:pPr algn="ctr" eaLnBrk="1" hangingPunct="1"/>
            <a:r>
              <a:rPr lang="en-US" altLang="en-US" sz="2400" dirty="0">
                <a:solidFill>
                  <a:srgbClr val="FFFFFF"/>
                </a:solidFill>
                <a:sym typeface="DIN Next LT Arabic" panose="020B0503020203050203" pitchFamily="34" charset="-78"/>
              </a:rPr>
              <a:t>Some Text</a:t>
            </a:r>
            <a:endParaRPr lang="ar-JO" altLang="en-US" sz="2400" dirty="0">
              <a:solidFill>
                <a:srgbClr val="FFFFFF"/>
              </a:solidFill>
              <a:sym typeface="DIN Next LT Arabic" panose="020B0503020203050203" pitchFamily="34" charset="-78"/>
            </a:endParaRPr>
          </a:p>
        </p:txBody>
      </p:sp>
      <p:grpSp>
        <p:nvGrpSpPr>
          <p:cNvPr id="9262" name="Group 311"/>
          <p:cNvGrpSpPr>
            <a:grpSpLocks/>
          </p:cNvGrpSpPr>
          <p:nvPr/>
        </p:nvGrpSpPr>
        <p:grpSpPr bwMode="auto">
          <a:xfrm>
            <a:off x="3570119" y="3546737"/>
            <a:ext cx="341423" cy="268855"/>
            <a:chOff x="5548313" y="1304925"/>
            <a:chExt cx="1095375" cy="1123950"/>
          </a:xfrm>
        </p:grpSpPr>
        <p:sp>
          <p:nvSpPr>
            <p:cNvPr id="9263" name="Freeform 17"/>
            <p:cNvSpPr>
              <a:spLocks/>
            </p:cNvSpPr>
            <p:nvPr/>
          </p:nvSpPr>
          <p:spPr bwMode="auto">
            <a:xfrm>
              <a:off x="5549900" y="1651000"/>
              <a:ext cx="1092200" cy="631825"/>
            </a:xfrm>
            <a:custGeom>
              <a:avLst/>
              <a:gdLst>
                <a:gd name="T0" fmla="*/ 51887356 w 2155"/>
                <a:gd name="T1" fmla="*/ 87847565 h 1243"/>
                <a:gd name="T2" fmla="*/ 51887356 w 2155"/>
                <a:gd name="T3" fmla="*/ 318835262 h 1243"/>
                <a:gd name="T4" fmla="*/ 53942009 w 2155"/>
                <a:gd name="T5" fmla="*/ 321160765 h 1243"/>
                <a:gd name="T6" fmla="*/ 75518915 w 2155"/>
                <a:gd name="T7" fmla="*/ 321160765 h 1243"/>
                <a:gd name="T8" fmla="*/ 77831034 w 2155"/>
                <a:gd name="T9" fmla="*/ 318835262 h 1243"/>
                <a:gd name="T10" fmla="*/ 77831034 w 2155"/>
                <a:gd name="T11" fmla="*/ 90431287 h 1243"/>
                <a:gd name="T12" fmla="*/ 146928522 w 2155"/>
                <a:gd name="T13" fmla="*/ 18344782 h 1243"/>
                <a:gd name="T14" fmla="*/ 216282968 w 2155"/>
                <a:gd name="T15" fmla="*/ 90431287 h 1243"/>
                <a:gd name="T16" fmla="*/ 285380457 w 2155"/>
                <a:gd name="T17" fmla="*/ 18344782 h 1243"/>
                <a:gd name="T18" fmla="*/ 285380457 w 2155"/>
                <a:gd name="T19" fmla="*/ 21961891 h 1243"/>
                <a:gd name="T20" fmla="*/ 285380457 w 2155"/>
                <a:gd name="T21" fmla="*/ 18344782 h 1243"/>
                <a:gd name="T22" fmla="*/ 337267305 w 2155"/>
                <a:gd name="T23" fmla="*/ 87847565 h 1243"/>
                <a:gd name="T24" fmla="*/ 337267305 w 2155"/>
                <a:gd name="T25" fmla="*/ 88106293 h 1243"/>
                <a:gd name="T26" fmla="*/ 354477438 w 2155"/>
                <a:gd name="T27" fmla="*/ 90431287 h 1243"/>
                <a:gd name="T28" fmla="*/ 423831884 w 2155"/>
                <a:gd name="T29" fmla="*/ 18344782 h 1243"/>
                <a:gd name="T30" fmla="*/ 475719240 w 2155"/>
                <a:gd name="T31" fmla="*/ 87847565 h 1243"/>
                <a:gd name="T32" fmla="*/ 475719240 w 2155"/>
                <a:gd name="T33" fmla="*/ 318835262 h 1243"/>
                <a:gd name="T34" fmla="*/ 477774401 w 2155"/>
                <a:gd name="T35" fmla="*/ 321160765 h 1243"/>
                <a:gd name="T36" fmla="*/ 499351306 w 2155"/>
                <a:gd name="T37" fmla="*/ 321160765 h 1243"/>
                <a:gd name="T38" fmla="*/ 501662918 w 2155"/>
                <a:gd name="T39" fmla="*/ 318835262 h 1243"/>
                <a:gd name="T40" fmla="*/ 501662918 w 2155"/>
                <a:gd name="T41" fmla="*/ 87847565 h 1243"/>
                <a:gd name="T42" fmla="*/ 553550274 w 2155"/>
                <a:gd name="T43" fmla="*/ 18344782 h 1243"/>
                <a:gd name="T44" fmla="*/ 553550274 w 2155"/>
                <a:gd name="T45" fmla="*/ 8268114 h 1243"/>
                <a:gd name="T46" fmla="*/ 545587604 w 2155"/>
                <a:gd name="T47" fmla="*/ 0 h 1243"/>
                <a:gd name="T48" fmla="*/ 7962670 w 2155"/>
                <a:gd name="T49" fmla="*/ 0 h 1243"/>
                <a:gd name="T50" fmla="*/ 0 w 2155"/>
                <a:gd name="T51" fmla="*/ 8268114 h 1243"/>
                <a:gd name="T52" fmla="*/ 0 w 2155"/>
                <a:gd name="T53" fmla="*/ 18344782 h 1243"/>
                <a:gd name="T54" fmla="*/ 51887356 w 2155"/>
                <a:gd name="T55" fmla="*/ 87847565 h 124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155" h="1243">
                  <a:moveTo>
                    <a:pt x="202" y="340"/>
                  </a:moveTo>
                  <a:cubicBezTo>
                    <a:pt x="202" y="1234"/>
                    <a:pt x="202" y="1234"/>
                    <a:pt x="202" y="1234"/>
                  </a:cubicBezTo>
                  <a:cubicBezTo>
                    <a:pt x="202" y="1239"/>
                    <a:pt x="205" y="1243"/>
                    <a:pt x="210" y="1243"/>
                  </a:cubicBezTo>
                  <a:cubicBezTo>
                    <a:pt x="294" y="1243"/>
                    <a:pt x="294" y="1243"/>
                    <a:pt x="294" y="1243"/>
                  </a:cubicBezTo>
                  <a:cubicBezTo>
                    <a:pt x="299" y="1243"/>
                    <a:pt x="303" y="1239"/>
                    <a:pt x="303" y="1234"/>
                  </a:cubicBezTo>
                  <a:cubicBezTo>
                    <a:pt x="303" y="350"/>
                    <a:pt x="303" y="350"/>
                    <a:pt x="303" y="350"/>
                  </a:cubicBezTo>
                  <a:cubicBezTo>
                    <a:pt x="454" y="350"/>
                    <a:pt x="572" y="225"/>
                    <a:pt x="572" y="71"/>
                  </a:cubicBezTo>
                  <a:cubicBezTo>
                    <a:pt x="572" y="225"/>
                    <a:pt x="693" y="350"/>
                    <a:pt x="842" y="350"/>
                  </a:cubicBezTo>
                  <a:cubicBezTo>
                    <a:pt x="990" y="350"/>
                    <a:pt x="1111" y="225"/>
                    <a:pt x="1111" y="71"/>
                  </a:cubicBezTo>
                  <a:cubicBezTo>
                    <a:pt x="1111" y="76"/>
                    <a:pt x="1111" y="80"/>
                    <a:pt x="1111" y="85"/>
                  </a:cubicBezTo>
                  <a:cubicBezTo>
                    <a:pt x="1111" y="80"/>
                    <a:pt x="1111" y="76"/>
                    <a:pt x="1111" y="71"/>
                  </a:cubicBezTo>
                  <a:cubicBezTo>
                    <a:pt x="1111" y="201"/>
                    <a:pt x="1199" y="309"/>
                    <a:pt x="1313" y="340"/>
                  </a:cubicBezTo>
                  <a:cubicBezTo>
                    <a:pt x="1313" y="341"/>
                    <a:pt x="1313" y="341"/>
                    <a:pt x="1313" y="341"/>
                  </a:cubicBezTo>
                  <a:cubicBezTo>
                    <a:pt x="1334" y="347"/>
                    <a:pt x="1357" y="350"/>
                    <a:pt x="1380" y="350"/>
                  </a:cubicBezTo>
                  <a:cubicBezTo>
                    <a:pt x="1529" y="350"/>
                    <a:pt x="1650" y="225"/>
                    <a:pt x="1650" y="71"/>
                  </a:cubicBezTo>
                  <a:cubicBezTo>
                    <a:pt x="1650" y="201"/>
                    <a:pt x="1734" y="309"/>
                    <a:pt x="1852" y="340"/>
                  </a:cubicBezTo>
                  <a:cubicBezTo>
                    <a:pt x="1852" y="1234"/>
                    <a:pt x="1852" y="1234"/>
                    <a:pt x="1852" y="1234"/>
                  </a:cubicBezTo>
                  <a:cubicBezTo>
                    <a:pt x="1852" y="1239"/>
                    <a:pt x="1856" y="1243"/>
                    <a:pt x="1860" y="1243"/>
                  </a:cubicBezTo>
                  <a:cubicBezTo>
                    <a:pt x="1944" y="1243"/>
                    <a:pt x="1944" y="1243"/>
                    <a:pt x="1944" y="1243"/>
                  </a:cubicBezTo>
                  <a:cubicBezTo>
                    <a:pt x="1949" y="1243"/>
                    <a:pt x="1953" y="1239"/>
                    <a:pt x="1953" y="1234"/>
                  </a:cubicBezTo>
                  <a:cubicBezTo>
                    <a:pt x="1953" y="340"/>
                    <a:pt x="1953" y="340"/>
                    <a:pt x="1953" y="340"/>
                  </a:cubicBezTo>
                  <a:cubicBezTo>
                    <a:pt x="2071" y="309"/>
                    <a:pt x="2155" y="201"/>
                    <a:pt x="2155" y="71"/>
                  </a:cubicBezTo>
                  <a:cubicBezTo>
                    <a:pt x="2155" y="32"/>
                    <a:pt x="2155" y="32"/>
                    <a:pt x="2155" y="32"/>
                  </a:cubicBezTo>
                  <a:cubicBezTo>
                    <a:pt x="2155" y="14"/>
                    <a:pt x="2141" y="0"/>
                    <a:pt x="21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201"/>
                    <a:pt x="84" y="309"/>
                    <a:pt x="202" y="34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800" dirty="0"/>
            </a:p>
          </p:txBody>
        </p:sp>
        <p:sp>
          <p:nvSpPr>
            <p:cNvPr id="9264" name="Freeform 18"/>
            <p:cNvSpPr>
              <a:spLocks/>
            </p:cNvSpPr>
            <p:nvPr/>
          </p:nvSpPr>
          <p:spPr bwMode="auto">
            <a:xfrm>
              <a:off x="5561013" y="2298700"/>
              <a:ext cx="1068388" cy="130175"/>
            </a:xfrm>
            <a:custGeom>
              <a:avLst/>
              <a:gdLst>
                <a:gd name="T0" fmla="*/ 538146732 w 2108"/>
                <a:gd name="T1" fmla="*/ 19134200 h 256"/>
                <a:gd name="T2" fmla="*/ 509634253 w 2108"/>
                <a:gd name="T3" fmla="*/ 19134200 h 256"/>
                <a:gd name="T4" fmla="*/ 509634253 w 2108"/>
                <a:gd name="T5" fmla="*/ 3361159 h 256"/>
                <a:gd name="T6" fmla="*/ 506037820 w 2108"/>
                <a:gd name="T7" fmla="*/ 0 h 256"/>
                <a:gd name="T8" fmla="*/ 35448384 w 2108"/>
                <a:gd name="T9" fmla="*/ 0 h 256"/>
                <a:gd name="T10" fmla="*/ 32108911 w 2108"/>
                <a:gd name="T11" fmla="*/ 3361159 h 256"/>
                <a:gd name="T12" fmla="*/ 32108911 w 2108"/>
                <a:gd name="T13" fmla="*/ 19134200 h 256"/>
                <a:gd name="T14" fmla="*/ 3596433 w 2108"/>
                <a:gd name="T15" fmla="*/ 19134200 h 256"/>
                <a:gd name="T16" fmla="*/ 0 w 2108"/>
                <a:gd name="T17" fmla="*/ 22754183 h 256"/>
                <a:gd name="T18" fmla="*/ 0 w 2108"/>
                <a:gd name="T19" fmla="*/ 62573495 h 256"/>
                <a:gd name="T20" fmla="*/ 3596433 w 2108"/>
                <a:gd name="T21" fmla="*/ 66193479 h 256"/>
                <a:gd name="T22" fmla="*/ 538146732 w 2108"/>
                <a:gd name="T23" fmla="*/ 66193479 h 256"/>
                <a:gd name="T24" fmla="*/ 541486204 w 2108"/>
                <a:gd name="T25" fmla="*/ 62573495 h 256"/>
                <a:gd name="T26" fmla="*/ 541486204 w 2108"/>
                <a:gd name="T27" fmla="*/ 22754183 h 256"/>
                <a:gd name="T28" fmla="*/ 538146732 w 2108"/>
                <a:gd name="T29" fmla="*/ 19134200 h 25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108" h="256">
                  <a:moveTo>
                    <a:pt x="2095" y="74"/>
                  </a:moveTo>
                  <a:cubicBezTo>
                    <a:pt x="1984" y="74"/>
                    <a:pt x="1984" y="74"/>
                    <a:pt x="1984" y="74"/>
                  </a:cubicBezTo>
                  <a:cubicBezTo>
                    <a:pt x="1984" y="13"/>
                    <a:pt x="1984" y="13"/>
                    <a:pt x="1984" y="13"/>
                  </a:cubicBezTo>
                  <a:cubicBezTo>
                    <a:pt x="1984" y="6"/>
                    <a:pt x="1978" y="0"/>
                    <a:pt x="1970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1" y="0"/>
                    <a:pt x="125" y="6"/>
                    <a:pt x="125" y="13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6" y="74"/>
                    <a:pt x="0" y="80"/>
                    <a:pt x="0" y="88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0" y="250"/>
                    <a:pt x="6" y="256"/>
                    <a:pt x="14" y="256"/>
                  </a:cubicBezTo>
                  <a:cubicBezTo>
                    <a:pt x="2095" y="256"/>
                    <a:pt x="2095" y="256"/>
                    <a:pt x="2095" y="256"/>
                  </a:cubicBezTo>
                  <a:cubicBezTo>
                    <a:pt x="2102" y="256"/>
                    <a:pt x="2108" y="250"/>
                    <a:pt x="2108" y="242"/>
                  </a:cubicBezTo>
                  <a:cubicBezTo>
                    <a:pt x="2108" y="88"/>
                    <a:pt x="2108" y="88"/>
                    <a:pt x="2108" y="88"/>
                  </a:cubicBezTo>
                  <a:cubicBezTo>
                    <a:pt x="2108" y="80"/>
                    <a:pt x="2102" y="74"/>
                    <a:pt x="2095" y="74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800" dirty="0"/>
            </a:p>
          </p:txBody>
        </p:sp>
        <p:sp>
          <p:nvSpPr>
            <p:cNvPr id="9265" name="Freeform 21"/>
            <p:cNvSpPr>
              <a:spLocks/>
            </p:cNvSpPr>
            <p:nvPr/>
          </p:nvSpPr>
          <p:spPr bwMode="auto">
            <a:xfrm>
              <a:off x="5683250" y="1304925"/>
              <a:ext cx="825500" cy="31750"/>
            </a:xfrm>
            <a:custGeom>
              <a:avLst/>
              <a:gdLst>
                <a:gd name="T0" fmla="*/ 416779069 w 1627"/>
                <a:gd name="T1" fmla="*/ 16525615 h 61"/>
                <a:gd name="T2" fmla="*/ 2059437 w 1627"/>
                <a:gd name="T3" fmla="*/ 16525615 h 61"/>
                <a:gd name="T4" fmla="*/ 0 w 1627"/>
                <a:gd name="T5" fmla="*/ 14358287 h 61"/>
                <a:gd name="T6" fmla="*/ 0 w 1627"/>
                <a:gd name="T7" fmla="*/ 2167328 h 61"/>
                <a:gd name="T8" fmla="*/ 2059437 w 1627"/>
                <a:gd name="T9" fmla="*/ 0 h 61"/>
                <a:gd name="T10" fmla="*/ 416779069 w 1627"/>
                <a:gd name="T11" fmla="*/ 0 h 61"/>
                <a:gd name="T12" fmla="*/ 418838506 w 1627"/>
                <a:gd name="T13" fmla="*/ 2167328 h 61"/>
                <a:gd name="T14" fmla="*/ 418838506 w 1627"/>
                <a:gd name="T15" fmla="*/ 14358287 h 61"/>
                <a:gd name="T16" fmla="*/ 416779069 w 1627"/>
                <a:gd name="T17" fmla="*/ 16525615 h 6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27" h="61">
                  <a:moveTo>
                    <a:pt x="1619" y="61"/>
                  </a:moveTo>
                  <a:cubicBezTo>
                    <a:pt x="8" y="61"/>
                    <a:pt x="8" y="61"/>
                    <a:pt x="8" y="61"/>
                  </a:cubicBezTo>
                  <a:cubicBezTo>
                    <a:pt x="3" y="61"/>
                    <a:pt x="0" y="58"/>
                    <a:pt x="0" y="5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1619" y="0"/>
                    <a:pt x="1619" y="0"/>
                    <a:pt x="1619" y="0"/>
                  </a:cubicBezTo>
                  <a:cubicBezTo>
                    <a:pt x="1623" y="0"/>
                    <a:pt x="1627" y="4"/>
                    <a:pt x="1627" y="8"/>
                  </a:cubicBezTo>
                  <a:cubicBezTo>
                    <a:pt x="1627" y="53"/>
                    <a:pt x="1627" y="53"/>
                    <a:pt x="1627" y="53"/>
                  </a:cubicBezTo>
                  <a:cubicBezTo>
                    <a:pt x="1627" y="58"/>
                    <a:pt x="1623" y="61"/>
                    <a:pt x="1619" y="6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800" dirty="0"/>
            </a:p>
          </p:txBody>
        </p:sp>
        <p:sp>
          <p:nvSpPr>
            <p:cNvPr id="9266" name="Freeform 16"/>
            <p:cNvSpPr>
              <a:spLocks/>
            </p:cNvSpPr>
            <p:nvPr/>
          </p:nvSpPr>
          <p:spPr bwMode="auto">
            <a:xfrm>
              <a:off x="5548313" y="1346200"/>
              <a:ext cx="1095375" cy="284163"/>
            </a:xfrm>
            <a:custGeom>
              <a:avLst/>
              <a:gdLst>
                <a:gd name="T0" fmla="*/ 552141011 w 2160"/>
                <a:gd name="T1" fmla="*/ 131319334 h 560"/>
                <a:gd name="T2" fmla="*/ 491706738 w 2160"/>
                <a:gd name="T3" fmla="*/ 6437307 h 560"/>
                <a:gd name="T4" fmla="*/ 482963008 w 2160"/>
                <a:gd name="T5" fmla="*/ 0 h 560"/>
                <a:gd name="T6" fmla="*/ 72778541 w 2160"/>
                <a:gd name="T7" fmla="*/ 0 h 560"/>
                <a:gd name="T8" fmla="*/ 64034811 w 2160"/>
                <a:gd name="T9" fmla="*/ 7209621 h 560"/>
                <a:gd name="T10" fmla="*/ 3343429 w 2160"/>
                <a:gd name="T11" fmla="*/ 130547019 h 560"/>
                <a:gd name="T12" fmla="*/ 12087159 w 2160"/>
                <a:gd name="T13" fmla="*/ 144193947 h 560"/>
                <a:gd name="T14" fmla="*/ 543397281 w 2160"/>
                <a:gd name="T15" fmla="*/ 144193947 h 560"/>
                <a:gd name="T16" fmla="*/ 552141011 w 2160"/>
                <a:gd name="T17" fmla="*/ 131319334 h 5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160" h="560">
                  <a:moveTo>
                    <a:pt x="2147" y="510"/>
                  </a:moveTo>
                  <a:cubicBezTo>
                    <a:pt x="1912" y="25"/>
                    <a:pt x="1912" y="25"/>
                    <a:pt x="1912" y="25"/>
                  </a:cubicBezTo>
                  <a:cubicBezTo>
                    <a:pt x="1905" y="12"/>
                    <a:pt x="1892" y="0"/>
                    <a:pt x="1878" y="0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68" y="0"/>
                    <a:pt x="255" y="15"/>
                    <a:pt x="249" y="28"/>
                  </a:cubicBezTo>
                  <a:cubicBezTo>
                    <a:pt x="13" y="507"/>
                    <a:pt x="13" y="507"/>
                    <a:pt x="13" y="507"/>
                  </a:cubicBezTo>
                  <a:cubicBezTo>
                    <a:pt x="0" y="532"/>
                    <a:pt x="19" y="560"/>
                    <a:pt x="47" y="560"/>
                  </a:cubicBezTo>
                  <a:cubicBezTo>
                    <a:pt x="2113" y="560"/>
                    <a:pt x="2113" y="560"/>
                    <a:pt x="2113" y="560"/>
                  </a:cubicBezTo>
                  <a:cubicBezTo>
                    <a:pt x="2142" y="560"/>
                    <a:pt x="2160" y="536"/>
                    <a:pt x="2147" y="51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800" dirty="0"/>
            </a:p>
          </p:txBody>
        </p:sp>
        <p:sp>
          <p:nvSpPr>
            <p:cNvPr id="9267" name="Freeform 19"/>
            <p:cNvSpPr>
              <a:spLocks/>
            </p:cNvSpPr>
            <p:nvPr/>
          </p:nvSpPr>
          <p:spPr bwMode="auto">
            <a:xfrm>
              <a:off x="5886450" y="1928813"/>
              <a:ext cx="195263" cy="354013"/>
            </a:xfrm>
            <a:custGeom>
              <a:avLst/>
              <a:gdLst>
                <a:gd name="T0" fmla="*/ 2339077 w 383"/>
                <a:gd name="T1" fmla="*/ 180064949 h 696"/>
                <a:gd name="T2" fmla="*/ 97210894 w 383"/>
                <a:gd name="T3" fmla="*/ 180064949 h 696"/>
                <a:gd name="T4" fmla="*/ 99549972 w 383"/>
                <a:gd name="T5" fmla="*/ 177736397 h 696"/>
                <a:gd name="T6" fmla="*/ 99549972 w 383"/>
                <a:gd name="T7" fmla="*/ 2069654 h 696"/>
                <a:gd name="T8" fmla="*/ 97210894 w 383"/>
                <a:gd name="T9" fmla="*/ 0 h 696"/>
                <a:gd name="T10" fmla="*/ 2339077 w 383"/>
                <a:gd name="T11" fmla="*/ 0 h 696"/>
                <a:gd name="T12" fmla="*/ 0 w 383"/>
                <a:gd name="T13" fmla="*/ 2069654 h 696"/>
                <a:gd name="T14" fmla="*/ 0 w 383"/>
                <a:gd name="T15" fmla="*/ 177736397 h 696"/>
                <a:gd name="T16" fmla="*/ 2339077 w 383"/>
                <a:gd name="T17" fmla="*/ 180064949 h 69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83" h="696">
                  <a:moveTo>
                    <a:pt x="9" y="696"/>
                  </a:moveTo>
                  <a:cubicBezTo>
                    <a:pt x="374" y="696"/>
                    <a:pt x="374" y="696"/>
                    <a:pt x="374" y="696"/>
                  </a:cubicBezTo>
                  <a:cubicBezTo>
                    <a:pt x="379" y="696"/>
                    <a:pt x="383" y="692"/>
                    <a:pt x="383" y="687"/>
                  </a:cubicBezTo>
                  <a:cubicBezTo>
                    <a:pt x="383" y="8"/>
                    <a:pt x="383" y="8"/>
                    <a:pt x="383" y="8"/>
                  </a:cubicBezTo>
                  <a:cubicBezTo>
                    <a:pt x="383" y="3"/>
                    <a:pt x="379" y="0"/>
                    <a:pt x="37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687"/>
                    <a:pt x="0" y="687"/>
                    <a:pt x="0" y="687"/>
                  </a:cubicBezTo>
                  <a:cubicBezTo>
                    <a:pt x="0" y="692"/>
                    <a:pt x="4" y="696"/>
                    <a:pt x="9" y="69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800" dirty="0"/>
            </a:p>
          </p:txBody>
        </p:sp>
        <p:sp>
          <p:nvSpPr>
            <p:cNvPr id="9268" name="Freeform 20"/>
            <p:cNvSpPr>
              <a:spLocks/>
            </p:cNvSpPr>
            <p:nvPr/>
          </p:nvSpPr>
          <p:spPr bwMode="auto">
            <a:xfrm>
              <a:off x="6110288" y="1928813"/>
              <a:ext cx="193675" cy="354013"/>
            </a:xfrm>
            <a:custGeom>
              <a:avLst/>
              <a:gdLst>
                <a:gd name="T0" fmla="*/ 2056403 w 382"/>
                <a:gd name="T1" fmla="*/ 180064949 h 696"/>
                <a:gd name="T2" fmla="*/ 96137329 w 382"/>
                <a:gd name="T3" fmla="*/ 180064949 h 696"/>
                <a:gd name="T4" fmla="*/ 98193732 w 382"/>
                <a:gd name="T5" fmla="*/ 177736397 h 696"/>
                <a:gd name="T6" fmla="*/ 98193732 w 382"/>
                <a:gd name="T7" fmla="*/ 2069654 h 696"/>
                <a:gd name="T8" fmla="*/ 96137329 w 382"/>
                <a:gd name="T9" fmla="*/ 0 h 696"/>
                <a:gd name="T10" fmla="*/ 2056403 w 382"/>
                <a:gd name="T11" fmla="*/ 0 h 696"/>
                <a:gd name="T12" fmla="*/ 0 w 382"/>
                <a:gd name="T13" fmla="*/ 2069654 h 696"/>
                <a:gd name="T14" fmla="*/ 0 w 382"/>
                <a:gd name="T15" fmla="*/ 177736397 h 696"/>
                <a:gd name="T16" fmla="*/ 2056403 w 382"/>
                <a:gd name="T17" fmla="*/ 180064949 h 69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82" h="696">
                  <a:moveTo>
                    <a:pt x="8" y="696"/>
                  </a:moveTo>
                  <a:cubicBezTo>
                    <a:pt x="374" y="696"/>
                    <a:pt x="374" y="696"/>
                    <a:pt x="374" y="696"/>
                  </a:cubicBezTo>
                  <a:cubicBezTo>
                    <a:pt x="378" y="696"/>
                    <a:pt x="382" y="692"/>
                    <a:pt x="382" y="687"/>
                  </a:cubicBezTo>
                  <a:cubicBezTo>
                    <a:pt x="382" y="8"/>
                    <a:pt x="382" y="8"/>
                    <a:pt x="382" y="8"/>
                  </a:cubicBezTo>
                  <a:cubicBezTo>
                    <a:pt x="382" y="3"/>
                    <a:pt x="378" y="0"/>
                    <a:pt x="37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687"/>
                    <a:pt x="0" y="687"/>
                    <a:pt x="0" y="687"/>
                  </a:cubicBezTo>
                  <a:cubicBezTo>
                    <a:pt x="0" y="692"/>
                    <a:pt x="4" y="696"/>
                    <a:pt x="8" y="69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800" dirty="0"/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2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2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6" name="Arrow: Pentagon 24"/>
          <p:cNvSpPr>
            <a:spLocks noChangeArrowheads="1"/>
          </p:cNvSpPr>
          <p:nvPr/>
        </p:nvSpPr>
        <p:spPr bwMode="auto">
          <a:xfrm rot="16200000" flipH="1">
            <a:off x="4717277" y="-455737"/>
            <a:ext cx="471449" cy="8870604"/>
          </a:xfrm>
          <a:prstGeom prst="homePlate">
            <a:avLst>
              <a:gd name="adj" fmla="val 30125"/>
            </a:avLst>
          </a:prstGeom>
          <a:solidFill>
            <a:schemeClr val="hlink"/>
          </a:solidFill>
          <a:ln w="6350" algn="ctr">
            <a:solidFill>
              <a:srgbClr val="4C966F"/>
            </a:solidFill>
            <a:miter lim="800000"/>
            <a:headEnd/>
            <a:tailEnd/>
          </a:ln>
        </p:spPr>
        <p:txBody>
          <a:bodyPr vert="eaVert" anchor="ctr"/>
          <a:lstStyle>
            <a:lvl1pPr defTabSz="457200">
              <a:buFont typeface="Arial" panose="020B0604020202020204" pitchFamily="34" charset="0"/>
              <a:defRPr sz="1600" b="1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1pPr>
            <a:lvl2pPr indent="457200" defTabSz="457200">
              <a:buClr>
                <a:srgbClr val="006234"/>
              </a:buClr>
              <a:buFont typeface="Anivers"/>
              <a:buChar char="•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2pPr>
            <a:lvl3pPr marL="685800" indent="914400" defTabSz="457200">
              <a:buClr>
                <a:srgbClr val="006234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3pPr>
            <a:lvl4pPr marL="914400" indent="1371600" defTabSz="457200">
              <a:buClr>
                <a:srgbClr val="006234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4pPr>
            <a:lvl5pPr marL="1143000" indent="1828800" defTabSz="457200">
              <a:buClr>
                <a:srgbClr val="006234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5pPr>
            <a:lvl6pPr marL="1600200" indent="18288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234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6pPr>
            <a:lvl7pPr marL="2057400" indent="18288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234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7pPr>
            <a:lvl8pPr marL="2514600" indent="18288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234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8pPr>
            <a:lvl9pPr marL="2971800" indent="18288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234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defRPr>
            </a:lvl9pPr>
          </a:lstStyle>
          <a:p>
            <a:pPr algn="ctr" eaLnBrk="1" hangingPunct="1"/>
            <a:r>
              <a:rPr lang="en-US" altLang="en-US" sz="2000" dirty="0">
                <a:solidFill>
                  <a:srgbClr val="FFFFFF"/>
                </a:solidFill>
                <a:sym typeface="DIN Next LT Arabic" panose="020B0503020203050203" pitchFamily="34" charset="-78"/>
              </a:rPr>
              <a:t>Some Text</a:t>
            </a:r>
            <a:endParaRPr lang="ar-JO" altLang="en-US" sz="2000" dirty="0">
              <a:solidFill>
                <a:srgbClr val="FFFFFF"/>
              </a:solidFill>
              <a:sym typeface="DIN Next LT Arabic" panose="020B0503020203050203" pitchFamily="34" charset="-78"/>
            </a:endParaRPr>
          </a:p>
        </p:txBody>
      </p:sp>
      <p:grpSp>
        <p:nvGrpSpPr>
          <p:cNvPr id="10247" name="Group 301"/>
          <p:cNvGrpSpPr>
            <a:grpSpLocks/>
          </p:cNvGrpSpPr>
          <p:nvPr/>
        </p:nvGrpSpPr>
        <p:grpSpPr bwMode="auto">
          <a:xfrm flipH="1">
            <a:off x="5559904" y="3878801"/>
            <a:ext cx="373062" cy="269875"/>
            <a:chOff x="1773238" y="1387475"/>
            <a:chExt cx="1330326" cy="958850"/>
          </a:xfrm>
        </p:grpSpPr>
        <p:sp>
          <p:nvSpPr>
            <p:cNvPr id="10271" name="Line 6"/>
            <p:cNvSpPr>
              <a:spLocks noChangeShapeType="1"/>
            </p:cNvSpPr>
            <p:nvPr/>
          </p:nvSpPr>
          <p:spPr bwMode="auto">
            <a:xfrm>
              <a:off x="2255838" y="1871663"/>
              <a:ext cx="0" cy="0"/>
            </a:xfrm>
            <a:prstGeom prst="line">
              <a:avLst/>
            </a:prstGeom>
            <a:noFill/>
            <a:ln w="0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2400" dirty="0"/>
            </a:p>
          </p:txBody>
        </p:sp>
        <p:sp>
          <p:nvSpPr>
            <p:cNvPr id="10272" name="Freeform 7"/>
            <p:cNvSpPr>
              <a:spLocks/>
            </p:cNvSpPr>
            <p:nvPr/>
          </p:nvSpPr>
          <p:spPr bwMode="auto">
            <a:xfrm>
              <a:off x="2252663" y="1519238"/>
              <a:ext cx="822325" cy="360363"/>
            </a:xfrm>
            <a:custGeom>
              <a:avLst/>
              <a:gdLst>
                <a:gd name="T0" fmla="*/ 4903243 w 1339"/>
                <a:gd name="T1" fmla="*/ 221606641 h 586"/>
                <a:gd name="T2" fmla="*/ 6034478 w 1339"/>
                <a:gd name="T3" fmla="*/ 219715658 h 586"/>
                <a:gd name="T4" fmla="*/ 503886246 w 1339"/>
                <a:gd name="T5" fmla="*/ 12101678 h 586"/>
                <a:gd name="T6" fmla="*/ 505017480 w 1339"/>
                <a:gd name="T7" fmla="*/ 10210695 h 586"/>
                <a:gd name="T8" fmla="*/ 500869007 w 1339"/>
                <a:gd name="T9" fmla="*/ 756393 h 586"/>
                <a:gd name="T10" fmla="*/ 500114237 w 1339"/>
                <a:gd name="T11" fmla="*/ 0 h 586"/>
                <a:gd name="T12" fmla="*/ 754156 w 1339"/>
                <a:gd name="T13" fmla="*/ 208370988 h 586"/>
                <a:gd name="T14" fmla="*/ 0 w 1339"/>
                <a:gd name="T15" fmla="*/ 207236398 h 58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39" h="586">
                  <a:moveTo>
                    <a:pt x="13" y="586"/>
                  </a:moveTo>
                  <a:cubicBezTo>
                    <a:pt x="13" y="584"/>
                    <a:pt x="13" y="581"/>
                    <a:pt x="16" y="581"/>
                  </a:cubicBezTo>
                  <a:cubicBezTo>
                    <a:pt x="1336" y="32"/>
                    <a:pt x="1336" y="32"/>
                    <a:pt x="1336" y="32"/>
                  </a:cubicBezTo>
                  <a:cubicBezTo>
                    <a:pt x="1339" y="32"/>
                    <a:pt x="1339" y="29"/>
                    <a:pt x="1339" y="27"/>
                  </a:cubicBezTo>
                  <a:cubicBezTo>
                    <a:pt x="1328" y="2"/>
                    <a:pt x="1328" y="2"/>
                    <a:pt x="1328" y="2"/>
                  </a:cubicBezTo>
                  <a:cubicBezTo>
                    <a:pt x="1328" y="0"/>
                    <a:pt x="1326" y="0"/>
                    <a:pt x="1326" y="0"/>
                  </a:cubicBezTo>
                  <a:cubicBezTo>
                    <a:pt x="2" y="551"/>
                    <a:pt x="2" y="551"/>
                    <a:pt x="2" y="551"/>
                  </a:cubicBezTo>
                  <a:cubicBezTo>
                    <a:pt x="2" y="551"/>
                    <a:pt x="0" y="551"/>
                    <a:pt x="0" y="54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dirty="0"/>
            </a:p>
          </p:txBody>
        </p:sp>
        <p:sp>
          <p:nvSpPr>
            <p:cNvPr id="10273" name="Freeform 8"/>
            <p:cNvSpPr>
              <a:spLocks/>
            </p:cNvSpPr>
            <p:nvPr/>
          </p:nvSpPr>
          <p:spPr bwMode="auto">
            <a:xfrm>
              <a:off x="2816226" y="1457325"/>
              <a:ext cx="241300" cy="152400"/>
            </a:xfrm>
            <a:custGeom>
              <a:avLst/>
              <a:gdLst>
                <a:gd name="T0" fmla="*/ 761545 w 391"/>
                <a:gd name="T1" fmla="*/ 90985885 h 247"/>
                <a:gd name="T2" fmla="*/ 18281406 w 391"/>
                <a:gd name="T3" fmla="*/ 54820193 h 247"/>
                <a:gd name="T4" fmla="*/ 20185270 w 391"/>
                <a:gd name="T5" fmla="*/ 52916735 h 247"/>
                <a:gd name="T6" fmla="*/ 144725692 w 391"/>
                <a:gd name="T7" fmla="*/ 1142074 h 247"/>
                <a:gd name="T8" fmla="*/ 147772490 w 391"/>
                <a:gd name="T9" fmla="*/ 4187606 h 247"/>
                <a:gd name="T10" fmla="*/ 129110311 w 391"/>
                <a:gd name="T11" fmla="*/ 40353299 h 247"/>
                <a:gd name="T12" fmla="*/ 128348766 w 391"/>
                <a:gd name="T13" fmla="*/ 41495373 h 247"/>
                <a:gd name="T14" fmla="*/ 3808343 w 391"/>
                <a:gd name="T15" fmla="*/ 94031417 h 247"/>
                <a:gd name="T16" fmla="*/ 761545 w 391"/>
                <a:gd name="T17" fmla="*/ 90985885 h 2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91" h="247">
                  <a:moveTo>
                    <a:pt x="2" y="239"/>
                  </a:moveTo>
                  <a:cubicBezTo>
                    <a:pt x="48" y="144"/>
                    <a:pt x="48" y="144"/>
                    <a:pt x="48" y="144"/>
                  </a:cubicBezTo>
                  <a:cubicBezTo>
                    <a:pt x="51" y="141"/>
                    <a:pt x="51" y="141"/>
                    <a:pt x="53" y="139"/>
                  </a:cubicBezTo>
                  <a:cubicBezTo>
                    <a:pt x="380" y="3"/>
                    <a:pt x="380" y="3"/>
                    <a:pt x="380" y="3"/>
                  </a:cubicBezTo>
                  <a:cubicBezTo>
                    <a:pt x="385" y="0"/>
                    <a:pt x="391" y="5"/>
                    <a:pt x="388" y="11"/>
                  </a:cubicBezTo>
                  <a:cubicBezTo>
                    <a:pt x="339" y="106"/>
                    <a:pt x="339" y="106"/>
                    <a:pt x="339" y="106"/>
                  </a:cubicBezTo>
                  <a:cubicBezTo>
                    <a:pt x="339" y="109"/>
                    <a:pt x="339" y="109"/>
                    <a:pt x="337" y="109"/>
                  </a:cubicBezTo>
                  <a:cubicBezTo>
                    <a:pt x="10" y="247"/>
                    <a:pt x="10" y="247"/>
                    <a:pt x="10" y="247"/>
                  </a:cubicBezTo>
                  <a:cubicBezTo>
                    <a:pt x="5" y="247"/>
                    <a:pt x="0" y="244"/>
                    <a:pt x="2" y="23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dirty="0"/>
            </a:p>
          </p:txBody>
        </p:sp>
        <p:sp>
          <p:nvSpPr>
            <p:cNvPr id="10274" name="Freeform 9"/>
            <p:cNvSpPr>
              <a:spLocks/>
            </p:cNvSpPr>
            <p:nvPr/>
          </p:nvSpPr>
          <p:spPr bwMode="auto">
            <a:xfrm>
              <a:off x="2832101" y="1563688"/>
              <a:ext cx="271463" cy="106363"/>
            </a:xfrm>
            <a:custGeom>
              <a:avLst/>
              <a:gdLst>
                <a:gd name="T0" fmla="*/ 1126296 w 443"/>
                <a:gd name="T1" fmla="*/ 54928543 h 174"/>
                <a:gd name="T2" fmla="*/ 39052067 w 443"/>
                <a:gd name="T3" fmla="*/ 65017746 h 174"/>
                <a:gd name="T4" fmla="*/ 39803339 w 443"/>
                <a:gd name="T5" fmla="*/ 65017746 h 174"/>
                <a:gd name="T6" fmla="*/ 164470424 w 443"/>
                <a:gd name="T7" fmla="*/ 14199461 h 174"/>
                <a:gd name="T8" fmla="*/ 164470424 w 443"/>
                <a:gd name="T9" fmla="*/ 10089203 h 174"/>
                <a:gd name="T10" fmla="*/ 127670949 w 443"/>
                <a:gd name="T11" fmla="*/ 0 h 174"/>
                <a:gd name="T12" fmla="*/ 125418357 w 443"/>
                <a:gd name="T13" fmla="*/ 0 h 174"/>
                <a:gd name="T14" fmla="*/ 2253204 w 443"/>
                <a:gd name="T15" fmla="*/ 51939376 h 174"/>
                <a:gd name="T16" fmla="*/ 1126296 w 443"/>
                <a:gd name="T17" fmla="*/ 54928543 h 17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43" h="174">
                  <a:moveTo>
                    <a:pt x="3" y="147"/>
                  </a:moveTo>
                  <a:cubicBezTo>
                    <a:pt x="104" y="174"/>
                    <a:pt x="104" y="174"/>
                    <a:pt x="104" y="174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438" y="38"/>
                    <a:pt x="438" y="38"/>
                    <a:pt x="438" y="38"/>
                  </a:cubicBezTo>
                  <a:cubicBezTo>
                    <a:pt x="440" y="36"/>
                    <a:pt x="443" y="30"/>
                    <a:pt x="438" y="27"/>
                  </a:cubicBezTo>
                  <a:cubicBezTo>
                    <a:pt x="340" y="0"/>
                    <a:pt x="340" y="0"/>
                    <a:pt x="340" y="0"/>
                  </a:cubicBezTo>
                  <a:cubicBezTo>
                    <a:pt x="337" y="0"/>
                    <a:pt x="337" y="0"/>
                    <a:pt x="334" y="0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0" y="139"/>
                    <a:pt x="0" y="144"/>
                    <a:pt x="3" y="1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dirty="0"/>
            </a:p>
          </p:txBody>
        </p:sp>
        <p:sp>
          <p:nvSpPr>
            <p:cNvPr id="10275" name="Freeform 5"/>
            <p:cNvSpPr>
              <a:spLocks/>
            </p:cNvSpPr>
            <p:nvPr/>
          </p:nvSpPr>
          <p:spPr bwMode="auto">
            <a:xfrm>
              <a:off x="1773238" y="1387475"/>
              <a:ext cx="957263" cy="958850"/>
            </a:xfrm>
            <a:custGeom>
              <a:avLst/>
              <a:gdLst>
                <a:gd name="T0" fmla="*/ 507646344 w 1557"/>
                <a:gd name="T1" fmla="*/ 226297205 h 1560"/>
                <a:gd name="T2" fmla="*/ 518986560 w 1557"/>
                <a:gd name="T3" fmla="*/ 295055355 h 1560"/>
                <a:gd name="T4" fmla="*/ 294835774 w 1557"/>
                <a:gd name="T5" fmla="*/ 519841142 h 1560"/>
                <a:gd name="T6" fmla="*/ 70684989 w 1557"/>
                <a:gd name="T7" fmla="*/ 295055355 h 1560"/>
                <a:gd name="T8" fmla="*/ 294835774 w 1557"/>
                <a:gd name="T9" fmla="*/ 70646962 h 1560"/>
                <a:gd name="T10" fmla="*/ 495550524 w 1557"/>
                <a:gd name="T11" fmla="*/ 194562343 h 1560"/>
                <a:gd name="T12" fmla="*/ 559809493 w 1557"/>
                <a:gd name="T13" fmla="*/ 168117137 h 1560"/>
                <a:gd name="T14" fmla="*/ 294835774 w 1557"/>
                <a:gd name="T15" fmla="*/ 0 h 1560"/>
                <a:gd name="T16" fmla="*/ 0 w 1557"/>
                <a:gd name="T17" fmla="*/ 295055355 h 1560"/>
                <a:gd name="T18" fmla="*/ 294835774 w 1557"/>
                <a:gd name="T19" fmla="*/ 589354694 h 1560"/>
                <a:gd name="T20" fmla="*/ 588537220 w 1557"/>
                <a:gd name="T21" fmla="*/ 295055355 h 1560"/>
                <a:gd name="T22" fmla="*/ 573417752 w 1557"/>
                <a:gd name="T23" fmla="*/ 198718589 h 1560"/>
                <a:gd name="T24" fmla="*/ 507646344 w 1557"/>
                <a:gd name="T25" fmla="*/ 226297205 h 1560"/>
                <a:gd name="T26" fmla="*/ 507646344 w 1557"/>
                <a:gd name="T27" fmla="*/ 226297205 h 156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57" h="1560">
                  <a:moveTo>
                    <a:pt x="1343" y="599"/>
                  </a:moveTo>
                  <a:cubicBezTo>
                    <a:pt x="1362" y="656"/>
                    <a:pt x="1373" y="716"/>
                    <a:pt x="1373" y="781"/>
                  </a:cubicBezTo>
                  <a:cubicBezTo>
                    <a:pt x="1373" y="1110"/>
                    <a:pt x="1108" y="1376"/>
                    <a:pt x="780" y="1376"/>
                  </a:cubicBezTo>
                  <a:cubicBezTo>
                    <a:pt x="452" y="1376"/>
                    <a:pt x="187" y="1110"/>
                    <a:pt x="187" y="781"/>
                  </a:cubicBezTo>
                  <a:cubicBezTo>
                    <a:pt x="187" y="453"/>
                    <a:pt x="452" y="187"/>
                    <a:pt x="780" y="187"/>
                  </a:cubicBezTo>
                  <a:cubicBezTo>
                    <a:pt x="1013" y="187"/>
                    <a:pt x="1213" y="320"/>
                    <a:pt x="1311" y="515"/>
                  </a:cubicBezTo>
                  <a:cubicBezTo>
                    <a:pt x="1481" y="445"/>
                    <a:pt x="1481" y="445"/>
                    <a:pt x="1481" y="445"/>
                  </a:cubicBezTo>
                  <a:cubicBezTo>
                    <a:pt x="1357" y="181"/>
                    <a:pt x="1089" y="0"/>
                    <a:pt x="780" y="0"/>
                  </a:cubicBezTo>
                  <a:cubicBezTo>
                    <a:pt x="349" y="0"/>
                    <a:pt x="0" y="350"/>
                    <a:pt x="0" y="781"/>
                  </a:cubicBezTo>
                  <a:cubicBezTo>
                    <a:pt x="0" y="1213"/>
                    <a:pt x="349" y="1560"/>
                    <a:pt x="780" y="1560"/>
                  </a:cubicBezTo>
                  <a:cubicBezTo>
                    <a:pt x="1211" y="1560"/>
                    <a:pt x="1557" y="1213"/>
                    <a:pt x="1557" y="781"/>
                  </a:cubicBezTo>
                  <a:cubicBezTo>
                    <a:pt x="1557" y="692"/>
                    <a:pt x="1544" y="608"/>
                    <a:pt x="1517" y="526"/>
                  </a:cubicBezTo>
                  <a:cubicBezTo>
                    <a:pt x="1343" y="599"/>
                    <a:pt x="1343" y="599"/>
                    <a:pt x="1343" y="599"/>
                  </a:cubicBezTo>
                  <a:cubicBezTo>
                    <a:pt x="1343" y="599"/>
                    <a:pt x="1343" y="599"/>
                    <a:pt x="1343" y="59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dirty="0"/>
            </a:p>
          </p:txBody>
        </p:sp>
        <p:sp>
          <p:nvSpPr>
            <p:cNvPr id="10276" name="Freeform 10"/>
            <p:cNvSpPr>
              <a:spLocks/>
            </p:cNvSpPr>
            <p:nvPr/>
          </p:nvSpPr>
          <p:spPr bwMode="auto">
            <a:xfrm>
              <a:off x="1978026" y="1593850"/>
              <a:ext cx="547688" cy="546100"/>
            </a:xfrm>
            <a:custGeom>
              <a:avLst/>
              <a:gdLst>
                <a:gd name="T0" fmla="*/ 273462520 w 893"/>
                <a:gd name="T1" fmla="*/ 143069610 h 890"/>
                <a:gd name="T2" fmla="*/ 275719509 w 893"/>
                <a:gd name="T3" fmla="*/ 167542253 h 890"/>
                <a:gd name="T4" fmla="*/ 168140216 w 893"/>
                <a:gd name="T5" fmla="*/ 274844767 h 890"/>
                <a:gd name="T6" fmla="*/ 59431814 w 893"/>
                <a:gd name="T7" fmla="*/ 167542253 h 890"/>
                <a:gd name="T8" fmla="*/ 168140216 w 893"/>
                <a:gd name="T9" fmla="*/ 59486857 h 890"/>
                <a:gd name="T10" fmla="*/ 261049689 w 893"/>
                <a:gd name="T11" fmla="*/ 112573299 h 890"/>
                <a:gd name="T12" fmla="*/ 316344098 w 893"/>
                <a:gd name="T13" fmla="*/ 88854152 h 890"/>
                <a:gd name="T14" fmla="*/ 168140216 w 893"/>
                <a:gd name="T15" fmla="*/ 0 h 890"/>
                <a:gd name="T16" fmla="*/ 0 w 893"/>
                <a:gd name="T17" fmla="*/ 167542253 h 890"/>
                <a:gd name="T18" fmla="*/ 168140216 w 893"/>
                <a:gd name="T19" fmla="*/ 335084506 h 890"/>
                <a:gd name="T20" fmla="*/ 335903858 w 893"/>
                <a:gd name="T21" fmla="*/ 167542253 h 890"/>
                <a:gd name="T22" fmla="*/ 328756928 w 893"/>
                <a:gd name="T23" fmla="*/ 119726596 h 890"/>
                <a:gd name="T24" fmla="*/ 273462520 w 893"/>
                <a:gd name="T25" fmla="*/ 143069610 h 890"/>
                <a:gd name="T26" fmla="*/ 273462520 w 893"/>
                <a:gd name="T27" fmla="*/ 143069610 h 89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93" h="890">
                  <a:moveTo>
                    <a:pt x="727" y="380"/>
                  </a:moveTo>
                  <a:cubicBezTo>
                    <a:pt x="733" y="402"/>
                    <a:pt x="733" y="423"/>
                    <a:pt x="733" y="445"/>
                  </a:cubicBezTo>
                  <a:cubicBezTo>
                    <a:pt x="733" y="602"/>
                    <a:pt x="605" y="730"/>
                    <a:pt x="447" y="730"/>
                  </a:cubicBezTo>
                  <a:cubicBezTo>
                    <a:pt x="289" y="730"/>
                    <a:pt x="158" y="602"/>
                    <a:pt x="158" y="445"/>
                  </a:cubicBezTo>
                  <a:cubicBezTo>
                    <a:pt x="158" y="288"/>
                    <a:pt x="289" y="158"/>
                    <a:pt x="447" y="158"/>
                  </a:cubicBezTo>
                  <a:cubicBezTo>
                    <a:pt x="550" y="158"/>
                    <a:pt x="643" y="215"/>
                    <a:pt x="694" y="299"/>
                  </a:cubicBezTo>
                  <a:cubicBezTo>
                    <a:pt x="841" y="236"/>
                    <a:pt x="841" y="236"/>
                    <a:pt x="841" y="236"/>
                  </a:cubicBezTo>
                  <a:cubicBezTo>
                    <a:pt x="768" y="95"/>
                    <a:pt x="618" y="0"/>
                    <a:pt x="447" y="0"/>
                  </a:cubicBezTo>
                  <a:cubicBezTo>
                    <a:pt x="199" y="0"/>
                    <a:pt x="0" y="198"/>
                    <a:pt x="0" y="445"/>
                  </a:cubicBezTo>
                  <a:cubicBezTo>
                    <a:pt x="0" y="692"/>
                    <a:pt x="199" y="890"/>
                    <a:pt x="447" y="890"/>
                  </a:cubicBezTo>
                  <a:cubicBezTo>
                    <a:pt x="694" y="890"/>
                    <a:pt x="893" y="692"/>
                    <a:pt x="893" y="445"/>
                  </a:cubicBezTo>
                  <a:cubicBezTo>
                    <a:pt x="893" y="402"/>
                    <a:pt x="888" y="358"/>
                    <a:pt x="874" y="318"/>
                  </a:cubicBezTo>
                  <a:cubicBezTo>
                    <a:pt x="727" y="380"/>
                    <a:pt x="727" y="380"/>
                    <a:pt x="727" y="380"/>
                  </a:cubicBezTo>
                  <a:cubicBezTo>
                    <a:pt x="727" y="380"/>
                    <a:pt x="727" y="380"/>
                    <a:pt x="727" y="38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dirty="0"/>
            </a:p>
          </p:txBody>
        </p:sp>
        <p:sp>
          <p:nvSpPr>
            <p:cNvPr id="10277" name="Freeform 11"/>
            <p:cNvSpPr>
              <a:spLocks/>
            </p:cNvSpPr>
            <p:nvPr/>
          </p:nvSpPr>
          <p:spPr bwMode="auto">
            <a:xfrm>
              <a:off x="2159001" y="1773238"/>
              <a:ext cx="185738" cy="187325"/>
            </a:xfrm>
            <a:custGeom>
              <a:avLst/>
              <a:gdLst>
                <a:gd name="T0" fmla="*/ 70267812 w 303"/>
                <a:gd name="T1" fmla="*/ 70829052 h 306"/>
                <a:gd name="T2" fmla="*/ 57115967 w 303"/>
                <a:gd name="T3" fmla="*/ 77949238 h 306"/>
                <a:gd name="T4" fmla="*/ 36825164 w 303"/>
                <a:gd name="T5" fmla="*/ 57337979 h 306"/>
                <a:gd name="T6" fmla="*/ 57115967 w 303"/>
                <a:gd name="T7" fmla="*/ 36726107 h 306"/>
                <a:gd name="T8" fmla="*/ 62000938 w 303"/>
                <a:gd name="T9" fmla="*/ 37850057 h 306"/>
                <a:gd name="T10" fmla="*/ 101832238 w 303"/>
                <a:gd name="T11" fmla="*/ 21361172 h 306"/>
                <a:gd name="T12" fmla="*/ 57115967 w 303"/>
                <a:gd name="T13" fmla="*/ 0 h 306"/>
                <a:gd name="T14" fmla="*/ 0 w 303"/>
                <a:gd name="T15" fmla="*/ 57337979 h 306"/>
                <a:gd name="T16" fmla="*/ 57115967 w 303"/>
                <a:gd name="T17" fmla="*/ 114675345 h 306"/>
                <a:gd name="T18" fmla="*/ 113856781 w 303"/>
                <a:gd name="T19" fmla="*/ 57337979 h 306"/>
                <a:gd name="T20" fmla="*/ 113856781 w 303"/>
                <a:gd name="T21" fmla="*/ 52091042 h 306"/>
                <a:gd name="T22" fmla="*/ 70267812 w 303"/>
                <a:gd name="T23" fmla="*/ 70829052 h 306"/>
                <a:gd name="T24" fmla="*/ 70267812 w 303"/>
                <a:gd name="T25" fmla="*/ 70829052 h 30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3" h="306">
                  <a:moveTo>
                    <a:pt x="187" y="189"/>
                  </a:moveTo>
                  <a:cubicBezTo>
                    <a:pt x="181" y="199"/>
                    <a:pt x="173" y="208"/>
                    <a:pt x="152" y="208"/>
                  </a:cubicBezTo>
                  <a:cubicBezTo>
                    <a:pt x="122" y="208"/>
                    <a:pt x="98" y="183"/>
                    <a:pt x="98" y="153"/>
                  </a:cubicBezTo>
                  <a:cubicBezTo>
                    <a:pt x="98" y="123"/>
                    <a:pt x="122" y="98"/>
                    <a:pt x="152" y="98"/>
                  </a:cubicBezTo>
                  <a:cubicBezTo>
                    <a:pt x="154" y="98"/>
                    <a:pt x="160" y="98"/>
                    <a:pt x="165" y="101"/>
                  </a:cubicBezTo>
                  <a:cubicBezTo>
                    <a:pt x="271" y="57"/>
                    <a:pt x="271" y="57"/>
                    <a:pt x="271" y="57"/>
                  </a:cubicBezTo>
                  <a:cubicBezTo>
                    <a:pt x="244" y="22"/>
                    <a:pt x="200" y="0"/>
                    <a:pt x="152" y="0"/>
                  </a:cubicBezTo>
                  <a:cubicBezTo>
                    <a:pt x="68" y="0"/>
                    <a:pt x="0" y="68"/>
                    <a:pt x="0" y="153"/>
                  </a:cubicBezTo>
                  <a:cubicBezTo>
                    <a:pt x="0" y="238"/>
                    <a:pt x="68" y="306"/>
                    <a:pt x="152" y="306"/>
                  </a:cubicBezTo>
                  <a:cubicBezTo>
                    <a:pt x="235" y="306"/>
                    <a:pt x="303" y="238"/>
                    <a:pt x="303" y="153"/>
                  </a:cubicBezTo>
                  <a:cubicBezTo>
                    <a:pt x="303" y="148"/>
                    <a:pt x="303" y="145"/>
                    <a:pt x="303" y="139"/>
                  </a:cubicBezTo>
                  <a:cubicBezTo>
                    <a:pt x="187" y="189"/>
                    <a:pt x="187" y="189"/>
                    <a:pt x="187" y="189"/>
                  </a:cubicBezTo>
                  <a:cubicBezTo>
                    <a:pt x="187" y="189"/>
                    <a:pt x="187" y="189"/>
                    <a:pt x="187" y="18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400" dirty="0"/>
            </a:p>
          </p:txBody>
        </p:sp>
      </p:grpSp>
      <p:grpSp>
        <p:nvGrpSpPr>
          <p:cNvPr id="10248" name="Group 186"/>
          <p:cNvGrpSpPr>
            <a:grpSpLocks/>
          </p:cNvGrpSpPr>
          <p:nvPr/>
        </p:nvGrpSpPr>
        <p:grpSpPr bwMode="auto">
          <a:xfrm flipH="1">
            <a:off x="221484" y="1508125"/>
            <a:ext cx="9273354" cy="2180450"/>
            <a:chOff x="534893" y="1507538"/>
            <a:chExt cx="9273207" cy="2181713"/>
          </a:xfrm>
        </p:grpSpPr>
        <p:grpSp>
          <p:nvGrpSpPr>
            <p:cNvPr id="10250" name="Group 164"/>
            <p:cNvGrpSpPr>
              <a:grpSpLocks/>
            </p:cNvGrpSpPr>
            <p:nvPr/>
          </p:nvGrpSpPr>
          <p:grpSpPr bwMode="auto">
            <a:xfrm>
              <a:off x="861913" y="1590133"/>
              <a:ext cx="8946187" cy="2099118"/>
              <a:chOff x="1086225" y="1507164"/>
              <a:chExt cx="8520179" cy="1999161"/>
            </a:xfrm>
          </p:grpSpPr>
          <p:sp>
            <p:nvSpPr>
              <p:cNvPr id="166" name="Freeform 165"/>
              <p:cNvSpPr/>
              <p:nvPr/>
            </p:nvSpPr>
            <p:spPr>
              <a:xfrm>
                <a:off x="1086225" y="2222713"/>
                <a:ext cx="5503246" cy="698905"/>
              </a:xfrm>
              <a:custGeom>
                <a:avLst/>
                <a:gdLst>
                  <a:gd name="connsiteX0" fmla="*/ 308975 w 5164898"/>
                  <a:gd name="connsiteY0" fmla="*/ 701458 h 1027134"/>
                  <a:gd name="connsiteX1" fmla="*/ 0 w 5164898"/>
                  <a:gd name="connsiteY1" fmla="*/ 584548 h 1027134"/>
                  <a:gd name="connsiteX2" fmla="*/ 1436318 w 5164898"/>
                  <a:gd name="connsiteY2" fmla="*/ 0 h 1027134"/>
                  <a:gd name="connsiteX3" fmla="*/ 3444657 w 5164898"/>
                  <a:gd name="connsiteY3" fmla="*/ 684756 h 1027134"/>
                  <a:gd name="connsiteX4" fmla="*/ 4346531 w 5164898"/>
                  <a:gd name="connsiteY4" fmla="*/ 789140 h 1027134"/>
                  <a:gd name="connsiteX5" fmla="*/ 5164898 w 5164898"/>
                  <a:gd name="connsiteY5" fmla="*/ 759912 h 1027134"/>
                  <a:gd name="connsiteX6" fmla="*/ 3820438 w 5164898"/>
                  <a:gd name="connsiteY6" fmla="*/ 1027134 h 1027134"/>
                  <a:gd name="connsiteX7" fmla="*/ 1511474 w 5164898"/>
                  <a:gd name="connsiteY7" fmla="*/ 237995 h 1027134"/>
                  <a:gd name="connsiteX8" fmla="*/ 308975 w 5164898"/>
                  <a:gd name="connsiteY8" fmla="*/ 701458 h 1027134"/>
                  <a:gd name="connsiteX0" fmla="*/ 308975 w 5164898"/>
                  <a:gd name="connsiteY0" fmla="*/ 701458 h 1027134"/>
                  <a:gd name="connsiteX1" fmla="*/ 0 w 5164898"/>
                  <a:gd name="connsiteY1" fmla="*/ 584548 h 1027134"/>
                  <a:gd name="connsiteX2" fmla="*/ 1436318 w 5164898"/>
                  <a:gd name="connsiteY2" fmla="*/ 0 h 1027134"/>
                  <a:gd name="connsiteX3" fmla="*/ 3444657 w 5164898"/>
                  <a:gd name="connsiteY3" fmla="*/ 684756 h 1027134"/>
                  <a:gd name="connsiteX4" fmla="*/ 4346531 w 5164898"/>
                  <a:gd name="connsiteY4" fmla="*/ 789140 h 1027134"/>
                  <a:gd name="connsiteX5" fmla="*/ 5164898 w 5164898"/>
                  <a:gd name="connsiteY5" fmla="*/ 759912 h 1027134"/>
                  <a:gd name="connsiteX6" fmla="*/ 3820438 w 5164898"/>
                  <a:gd name="connsiteY6" fmla="*/ 1027134 h 1027134"/>
                  <a:gd name="connsiteX7" fmla="*/ 1511474 w 5164898"/>
                  <a:gd name="connsiteY7" fmla="*/ 237995 h 1027134"/>
                  <a:gd name="connsiteX8" fmla="*/ 308975 w 5164898"/>
                  <a:gd name="connsiteY8" fmla="*/ 701458 h 1027134"/>
                  <a:gd name="connsiteX0" fmla="*/ 308975 w 5164898"/>
                  <a:gd name="connsiteY0" fmla="*/ 701458 h 1027134"/>
                  <a:gd name="connsiteX1" fmla="*/ 0 w 5164898"/>
                  <a:gd name="connsiteY1" fmla="*/ 584548 h 1027134"/>
                  <a:gd name="connsiteX2" fmla="*/ 1436318 w 5164898"/>
                  <a:gd name="connsiteY2" fmla="*/ 0 h 1027134"/>
                  <a:gd name="connsiteX3" fmla="*/ 3444657 w 5164898"/>
                  <a:gd name="connsiteY3" fmla="*/ 684756 h 1027134"/>
                  <a:gd name="connsiteX4" fmla="*/ 4346531 w 5164898"/>
                  <a:gd name="connsiteY4" fmla="*/ 789140 h 1027134"/>
                  <a:gd name="connsiteX5" fmla="*/ 5164898 w 5164898"/>
                  <a:gd name="connsiteY5" fmla="*/ 759912 h 1027134"/>
                  <a:gd name="connsiteX6" fmla="*/ 3820438 w 5164898"/>
                  <a:gd name="connsiteY6" fmla="*/ 1027134 h 1027134"/>
                  <a:gd name="connsiteX7" fmla="*/ 1511474 w 5164898"/>
                  <a:gd name="connsiteY7" fmla="*/ 237995 h 1027134"/>
                  <a:gd name="connsiteX8" fmla="*/ 308975 w 5164898"/>
                  <a:gd name="connsiteY8" fmla="*/ 701458 h 1027134"/>
                  <a:gd name="connsiteX0" fmla="*/ 308975 w 5164898"/>
                  <a:gd name="connsiteY0" fmla="*/ 744603 h 1070279"/>
                  <a:gd name="connsiteX1" fmla="*/ 0 w 5164898"/>
                  <a:gd name="connsiteY1" fmla="*/ 627693 h 1070279"/>
                  <a:gd name="connsiteX2" fmla="*/ 1436318 w 5164898"/>
                  <a:gd name="connsiteY2" fmla="*/ 43145 h 1070279"/>
                  <a:gd name="connsiteX3" fmla="*/ 3444657 w 5164898"/>
                  <a:gd name="connsiteY3" fmla="*/ 727901 h 1070279"/>
                  <a:gd name="connsiteX4" fmla="*/ 4346531 w 5164898"/>
                  <a:gd name="connsiteY4" fmla="*/ 832285 h 1070279"/>
                  <a:gd name="connsiteX5" fmla="*/ 5164898 w 5164898"/>
                  <a:gd name="connsiteY5" fmla="*/ 803057 h 1070279"/>
                  <a:gd name="connsiteX6" fmla="*/ 3820438 w 5164898"/>
                  <a:gd name="connsiteY6" fmla="*/ 1070279 h 1070279"/>
                  <a:gd name="connsiteX7" fmla="*/ 1511474 w 5164898"/>
                  <a:gd name="connsiteY7" fmla="*/ 281140 h 1070279"/>
                  <a:gd name="connsiteX8" fmla="*/ 308975 w 5164898"/>
                  <a:gd name="connsiteY8" fmla="*/ 744603 h 1070279"/>
                  <a:gd name="connsiteX0" fmla="*/ 308975 w 5164898"/>
                  <a:gd name="connsiteY0" fmla="*/ 720503 h 1046179"/>
                  <a:gd name="connsiteX1" fmla="*/ 0 w 5164898"/>
                  <a:gd name="connsiteY1" fmla="*/ 603593 h 1046179"/>
                  <a:gd name="connsiteX2" fmla="*/ 1436318 w 5164898"/>
                  <a:gd name="connsiteY2" fmla="*/ 19045 h 1046179"/>
                  <a:gd name="connsiteX3" fmla="*/ 3444657 w 5164898"/>
                  <a:gd name="connsiteY3" fmla="*/ 703801 h 1046179"/>
                  <a:gd name="connsiteX4" fmla="*/ 4346531 w 5164898"/>
                  <a:gd name="connsiteY4" fmla="*/ 808185 h 1046179"/>
                  <a:gd name="connsiteX5" fmla="*/ 5164898 w 5164898"/>
                  <a:gd name="connsiteY5" fmla="*/ 778957 h 1046179"/>
                  <a:gd name="connsiteX6" fmla="*/ 3820438 w 5164898"/>
                  <a:gd name="connsiteY6" fmla="*/ 1046179 h 1046179"/>
                  <a:gd name="connsiteX7" fmla="*/ 1511474 w 5164898"/>
                  <a:gd name="connsiteY7" fmla="*/ 257040 h 1046179"/>
                  <a:gd name="connsiteX8" fmla="*/ 308975 w 5164898"/>
                  <a:gd name="connsiteY8" fmla="*/ 720503 h 1046179"/>
                  <a:gd name="connsiteX0" fmla="*/ 308975 w 5164898"/>
                  <a:gd name="connsiteY0" fmla="*/ 720503 h 1046179"/>
                  <a:gd name="connsiteX1" fmla="*/ 0 w 5164898"/>
                  <a:gd name="connsiteY1" fmla="*/ 603593 h 1046179"/>
                  <a:gd name="connsiteX2" fmla="*/ 1436318 w 5164898"/>
                  <a:gd name="connsiteY2" fmla="*/ 19045 h 1046179"/>
                  <a:gd name="connsiteX3" fmla="*/ 3444657 w 5164898"/>
                  <a:gd name="connsiteY3" fmla="*/ 703801 h 1046179"/>
                  <a:gd name="connsiteX4" fmla="*/ 4346531 w 5164898"/>
                  <a:gd name="connsiteY4" fmla="*/ 808185 h 1046179"/>
                  <a:gd name="connsiteX5" fmla="*/ 5164898 w 5164898"/>
                  <a:gd name="connsiteY5" fmla="*/ 778957 h 1046179"/>
                  <a:gd name="connsiteX6" fmla="*/ 3820438 w 5164898"/>
                  <a:gd name="connsiteY6" fmla="*/ 1046179 h 1046179"/>
                  <a:gd name="connsiteX7" fmla="*/ 1511474 w 5164898"/>
                  <a:gd name="connsiteY7" fmla="*/ 257040 h 1046179"/>
                  <a:gd name="connsiteX8" fmla="*/ 308975 w 5164898"/>
                  <a:gd name="connsiteY8" fmla="*/ 720503 h 1046179"/>
                  <a:gd name="connsiteX0" fmla="*/ 308975 w 5164898"/>
                  <a:gd name="connsiteY0" fmla="*/ 720503 h 1046179"/>
                  <a:gd name="connsiteX1" fmla="*/ 0 w 5164898"/>
                  <a:gd name="connsiteY1" fmla="*/ 603593 h 1046179"/>
                  <a:gd name="connsiteX2" fmla="*/ 1436318 w 5164898"/>
                  <a:gd name="connsiteY2" fmla="*/ 19045 h 1046179"/>
                  <a:gd name="connsiteX3" fmla="*/ 3444657 w 5164898"/>
                  <a:gd name="connsiteY3" fmla="*/ 703801 h 1046179"/>
                  <a:gd name="connsiteX4" fmla="*/ 4346531 w 5164898"/>
                  <a:gd name="connsiteY4" fmla="*/ 808185 h 1046179"/>
                  <a:gd name="connsiteX5" fmla="*/ 5164898 w 5164898"/>
                  <a:gd name="connsiteY5" fmla="*/ 778957 h 1046179"/>
                  <a:gd name="connsiteX6" fmla="*/ 3820438 w 5164898"/>
                  <a:gd name="connsiteY6" fmla="*/ 1046179 h 1046179"/>
                  <a:gd name="connsiteX7" fmla="*/ 1511474 w 5164898"/>
                  <a:gd name="connsiteY7" fmla="*/ 257040 h 1046179"/>
                  <a:gd name="connsiteX8" fmla="*/ 308975 w 5164898"/>
                  <a:gd name="connsiteY8" fmla="*/ 720503 h 1046179"/>
                  <a:gd name="connsiteX0" fmla="*/ 308975 w 5164898"/>
                  <a:gd name="connsiteY0" fmla="*/ 720503 h 1046179"/>
                  <a:gd name="connsiteX1" fmla="*/ 0 w 5164898"/>
                  <a:gd name="connsiteY1" fmla="*/ 603593 h 1046179"/>
                  <a:gd name="connsiteX2" fmla="*/ 1436318 w 5164898"/>
                  <a:gd name="connsiteY2" fmla="*/ 19045 h 1046179"/>
                  <a:gd name="connsiteX3" fmla="*/ 3444657 w 5164898"/>
                  <a:gd name="connsiteY3" fmla="*/ 703801 h 1046179"/>
                  <a:gd name="connsiteX4" fmla="*/ 4346531 w 5164898"/>
                  <a:gd name="connsiteY4" fmla="*/ 808185 h 1046179"/>
                  <a:gd name="connsiteX5" fmla="*/ 5164898 w 5164898"/>
                  <a:gd name="connsiteY5" fmla="*/ 778957 h 1046179"/>
                  <a:gd name="connsiteX6" fmla="*/ 3820438 w 5164898"/>
                  <a:gd name="connsiteY6" fmla="*/ 1046179 h 1046179"/>
                  <a:gd name="connsiteX7" fmla="*/ 1511474 w 5164898"/>
                  <a:gd name="connsiteY7" fmla="*/ 257040 h 1046179"/>
                  <a:gd name="connsiteX8" fmla="*/ 308975 w 5164898"/>
                  <a:gd name="connsiteY8" fmla="*/ 720503 h 1046179"/>
                  <a:gd name="connsiteX0" fmla="*/ 308975 w 5164898"/>
                  <a:gd name="connsiteY0" fmla="*/ 720503 h 1046179"/>
                  <a:gd name="connsiteX1" fmla="*/ 0 w 5164898"/>
                  <a:gd name="connsiteY1" fmla="*/ 603593 h 1046179"/>
                  <a:gd name="connsiteX2" fmla="*/ 1436318 w 5164898"/>
                  <a:gd name="connsiteY2" fmla="*/ 19045 h 1046179"/>
                  <a:gd name="connsiteX3" fmla="*/ 3444657 w 5164898"/>
                  <a:gd name="connsiteY3" fmla="*/ 703801 h 1046179"/>
                  <a:gd name="connsiteX4" fmla="*/ 4346531 w 5164898"/>
                  <a:gd name="connsiteY4" fmla="*/ 808185 h 1046179"/>
                  <a:gd name="connsiteX5" fmla="*/ 5164898 w 5164898"/>
                  <a:gd name="connsiteY5" fmla="*/ 778957 h 1046179"/>
                  <a:gd name="connsiteX6" fmla="*/ 3820438 w 5164898"/>
                  <a:gd name="connsiteY6" fmla="*/ 1046179 h 1046179"/>
                  <a:gd name="connsiteX7" fmla="*/ 1511474 w 5164898"/>
                  <a:gd name="connsiteY7" fmla="*/ 257040 h 1046179"/>
                  <a:gd name="connsiteX8" fmla="*/ 308975 w 5164898"/>
                  <a:gd name="connsiteY8" fmla="*/ 720503 h 1046179"/>
                  <a:gd name="connsiteX0" fmla="*/ 308975 w 5164898"/>
                  <a:gd name="connsiteY0" fmla="*/ 720503 h 1046179"/>
                  <a:gd name="connsiteX1" fmla="*/ 0 w 5164898"/>
                  <a:gd name="connsiteY1" fmla="*/ 603593 h 1046179"/>
                  <a:gd name="connsiteX2" fmla="*/ 1436318 w 5164898"/>
                  <a:gd name="connsiteY2" fmla="*/ 19045 h 1046179"/>
                  <a:gd name="connsiteX3" fmla="*/ 3444657 w 5164898"/>
                  <a:gd name="connsiteY3" fmla="*/ 703801 h 1046179"/>
                  <a:gd name="connsiteX4" fmla="*/ 4346531 w 5164898"/>
                  <a:gd name="connsiteY4" fmla="*/ 808185 h 1046179"/>
                  <a:gd name="connsiteX5" fmla="*/ 5164898 w 5164898"/>
                  <a:gd name="connsiteY5" fmla="*/ 778957 h 1046179"/>
                  <a:gd name="connsiteX6" fmla="*/ 3820438 w 5164898"/>
                  <a:gd name="connsiteY6" fmla="*/ 1046179 h 1046179"/>
                  <a:gd name="connsiteX7" fmla="*/ 1511474 w 5164898"/>
                  <a:gd name="connsiteY7" fmla="*/ 257040 h 1046179"/>
                  <a:gd name="connsiteX8" fmla="*/ 308975 w 5164898"/>
                  <a:gd name="connsiteY8" fmla="*/ 720503 h 1046179"/>
                  <a:gd name="connsiteX0" fmla="*/ 308975 w 5164898"/>
                  <a:gd name="connsiteY0" fmla="*/ 720503 h 1060097"/>
                  <a:gd name="connsiteX1" fmla="*/ 0 w 5164898"/>
                  <a:gd name="connsiteY1" fmla="*/ 603593 h 1060097"/>
                  <a:gd name="connsiteX2" fmla="*/ 1436318 w 5164898"/>
                  <a:gd name="connsiteY2" fmla="*/ 19045 h 1060097"/>
                  <a:gd name="connsiteX3" fmla="*/ 3444657 w 5164898"/>
                  <a:gd name="connsiteY3" fmla="*/ 703801 h 1060097"/>
                  <a:gd name="connsiteX4" fmla="*/ 4346531 w 5164898"/>
                  <a:gd name="connsiteY4" fmla="*/ 808185 h 1060097"/>
                  <a:gd name="connsiteX5" fmla="*/ 5164898 w 5164898"/>
                  <a:gd name="connsiteY5" fmla="*/ 778957 h 1060097"/>
                  <a:gd name="connsiteX6" fmla="*/ 3820438 w 5164898"/>
                  <a:gd name="connsiteY6" fmla="*/ 1046179 h 1060097"/>
                  <a:gd name="connsiteX7" fmla="*/ 1511474 w 5164898"/>
                  <a:gd name="connsiteY7" fmla="*/ 257040 h 1060097"/>
                  <a:gd name="connsiteX8" fmla="*/ 308975 w 5164898"/>
                  <a:gd name="connsiteY8" fmla="*/ 720503 h 1060097"/>
                  <a:gd name="connsiteX0" fmla="*/ 308975 w 5164898"/>
                  <a:gd name="connsiteY0" fmla="*/ 720503 h 1060097"/>
                  <a:gd name="connsiteX1" fmla="*/ 0 w 5164898"/>
                  <a:gd name="connsiteY1" fmla="*/ 603593 h 1060097"/>
                  <a:gd name="connsiteX2" fmla="*/ 1436318 w 5164898"/>
                  <a:gd name="connsiteY2" fmla="*/ 19045 h 1060097"/>
                  <a:gd name="connsiteX3" fmla="*/ 3444657 w 5164898"/>
                  <a:gd name="connsiteY3" fmla="*/ 703801 h 1060097"/>
                  <a:gd name="connsiteX4" fmla="*/ 4346531 w 5164898"/>
                  <a:gd name="connsiteY4" fmla="*/ 808185 h 1060097"/>
                  <a:gd name="connsiteX5" fmla="*/ 5164898 w 5164898"/>
                  <a:gd name="connsiteY5" fmla="*/ 778957 h 1060097"/>
                  <a:gd name="connsiteX6" fmla="*/ 3820438 w 5164898"/>
                  <a:gd name="connsiteY6" fmla="*/ 1046179 h 1060097"/>
                  <a:gd name="connsiteX7" fmla="*/ 1511474 w 5164898"/>
                  <a:gd name="connsiteY7" fmla="*/ 257040 h 1060097"/>
                  <a:gd name="connsiteX8" fmla="*/ 308975 w 5164898"/>
                  <a:gd name="connsiteY8" fmla="*/ 720503 h 1060097"/>
                  <a:gd name="connsiteX0" fmla="*/ 308975 w 5164898"/>
                  <a:gd name="connsiteY0" fmla="*/ 720503 h 1078190"/>
                  <a:gd name="connsiteX1" fmla="*/ 0 w 5164898"/>
                  <a:gd name="connsiteY1" fmla="*/ 603593 h 1078190"/>
                  <a:gd name="connsiteX2" fmla="*/ 1436318 w 5164898"/>
                  <a:gd name="connsiteY2" fmla="*/ 19045 h 1078190"/>
                  <a:gd name="connsiteX3" fmla="*/ 3444657 w 5164898"/>
                  <a:gd name="connsiteY3" fmla="*/ 703801 h 1078190"/>
                  <a:gd name="connsiteX4" fmla="*/ 4346531 w 5164898"/>
                  <a:gd name="connsiteY4" fmla="*/ 808185 h 1078190"/>
                  <a:gd name="connsiteX5" fmla="*/ 5164898 w 5164898"/>
                  <a:gd name="connsiteY5" fmla="*/ 778957 h 1078190"/>
                  <a:gd name="connsiteX6" fmla="*/ 3820438 w 5164898"/>
                  <a:gd name="connsiteY6" fmla="*/ 1046179 h 1078190"/>
                  <a:gd name="connsiteX7" fmla="*/ 1511474 w 5164898"/>
                  <a:gd name="connsiteY7" fmla="*/ 257040 h 1078190"/>
                  <a:gd name="connsiteX8" fmla="*/ 308975 w 5164898"/>
                  <a:gd name="connsiteY8" fmla="*/ 720503 h 1078190"/>
                  <a:gd name="connsiteX0" fmla="*/ 308975 w 5164898"/>
                  <a:gd name="connsiteY0" fmla="*/ 720503 h 1078190"/>
                  <a:gd name="connsiteX1" fmla="*/ 0 w 5164898"/>
                  <a:gd name="connsiteY1" fmla="*/ 603593 h 1078190"/>
                  <a:gd name="connsiteX2" fmla="*/ 1436318 w 5164898"/>
                  <a:gd name="connsiteY2" fmla="*/ 19045 h 1078190"/>
                  <a:gd name="connsiteX3" fmla="*/ 3444657 w 5164898"/>
                  <a:gd name="connsiteY3" fmla="*/ 703801 h 1078190"/>
                  <a:gd name="connsiteX4" fmla="*/ 4346531 w 5164898"/>
                  <a:gd name="connsiteY4" fmla="*/ 808185 h 1078190"/>
                  <a:gd name="connsiteX5" fmla="*/ 5164898 w 5164898"/>
                  <a:gd name="connsiteY5" fmla="*/ 778957 h 1078190"/>
                  <a:gd name="connsiteX6" fmla="*/ 3820438 w 5164898"/>
                  <a:gd name="connsiteY6" fmla="*/ 1046179 h 1078190"/>
                  <a:gd name="connsiteX7" fmla="*/ 1511474 w 5164898"/>
                  <a:gd name="connsiteY7" fmla="*/ 257040 h 1078190"/>
                  <a:gd name="connsiteX8" fmla="*/ 308975 w 5164898"/>
                  <a:gd name="connsiteY8" fmla="*/ 720503 h 1078190"/>
                  <a:gd name="connsiteX0" fmla="*/ 308975 w 5164898"/>
                  <a:gd name="connsiteY0" fmla="*/ 720503 h 1078190"/>
                  <a:gd name="connsiteX1" fmla="*/ 0 w 5164898"/>
                  <a:gd name="connsiteY1" fmla="*/ 603593 h 1078190"/>
                  <a:gd name="connsiteX2" fmla="*/ 1436318 w 5164898"/>
                  <a:gd name="connsiteY2" fmla="*/ 19045 h 1078190"/>
                  <a:gd name="connsiteX3" fmla="*/ 3444657 w 5164898"/>
                  <a:gd name="connsiteY3" fmla="*/ 703801 h 1078190"/>
                  <a:gd name="connsiteX4" fmla="*/ 4346531 w 5164898"/>
                  <a:gd name="connsiteY4" fmla="*/ 808185 h 1078190"/>
                  <a:gd name="connsiteX5" fmla="*/ 5164898 w 5164898"/>
                  <a:gd name="connsiteY5" fmla="*/ 778957 h 1078190"/>
                  <a:gd name="connsiteX6" fmla="*/ 3820438 w 5164898"/>
                  <a:gd name="connsiteY6" fmla="*/ 1046179 h 1078190"/>
                  <a:gd name="connsiteX7" fmla="*/ 1511474 w 5164898"/>
                  <a:gd name="connsiteY7" fmla="*/ 257040 h 1078190"/>
                  <a:gd name="connsiteX8" fmla="*/ 308975 w 5164898"/>
                  <a:gd name="connsiteY8" fmla="*/ 720503 h 1078190"/>
                  <a:gd name="connsiteX0" fmla="*/ 308975 w 5164898"/>
                  <a:gd name="connsiteY0" fmla="*/ 720503 h 1078190"/>
                  <a:gd name="connsiteX1" fmla="*/ 0 w 5164898"/>
                  <a:gd name="connsiteY1" fmla="*/ 603593 h 1078190"/>
                  <a:gd name="connsiteX2" fmla="*/ 1436318 w 5164898"/>
                  <a:gd name="connsiteY2" fmla="*/ 19045 h 1078190"/>
                  <a:gd name="connsiteX3" fmla="*/ 3444657 w 5164898"/>
                  <a:gd name="connsiteY3" fmla="*/ 703801 h 1078190"/>
                  <a:gd name="connsiteX4" fmla="*/ 4346531 w 5164898"/>
                  <a:gd name="connsiteY4" fmla="*/ 808185 h 1078190"/>
                  <a:gd name="connsiteX5" fmla="*/ 5164898 w 5164898"/>
                  <a:gd name="connsiteY5" fmla="*/ 778957 h 1078190"/>
                  <a:gd name="connsiteX6" fmla="*/ 3820438 w 5164898"/>
                  <a:gd name="connsiteY6" fmla="*/ 1046179 h 1078190"/>
                  <a:gd name="connsiteX7" fmla="*/ 1511474 w 5164898"/>
                  <a:gd name="connsiteY7" fmla="*/ 257040 h 1078190"/>
                  <a:gd name="connsiteX8" fmla="*/ 308975 w 5164898"/>
                  <a:gd name="connsiteY8" fmla="*/ 720503 h 1078190"/>
                  <a:gd name="connsiteX0" fmla="*/ 308975 w 5164898"/>
                  <a:gd name="connsiteY0" fmla="*/ 720503 h 1078190"/>
                  <a:gd name="connsiteX1" fmla="*/ 0 w 5164898"/>
                  <a:gd name="connsiteY1" fmla="*/ 603593 h 1078190"/>
                  <a:gd name="connsiteX2" fmla="*/ 1436318 w 5164898"/>
                  <a:gd name="connsiteY2" fmla="*/ 19045 h 1078190"/>
                  <a:gd name="connsiteX3" fmla="*/ 3444657 w 5164898"/>
                  <a:gd name="connsiteY3" fmla="*/ 703801 h 1078190"/>
                  <a:gd name="connsiteX4" fmla="*/ 4346531 w 5164898"/>
                  <a:gd name="connsiteY4" fmla="*/ 808185 h 1078190"/>
                  <a:gd name="connsiteX5" fmla="*/ 5164898 w 5164898"/>
                  <a:gd name="connsiteY5" fmla="*/ 778957 h 1078190"/>
                  <a:gd name="connsiteX6" fmla="*/ 3820438 w 5164898"/>
                  <a:gd name="connsiteY6" fmla="*/ 1046179 h 1078190"/>
                  <a:gd name="connsiteX7" fmla="*/ 1511474 w 5164898"/>
                  <a:gd name="connsiteY7" fmla="*/ 257040 h 1078190"/>
                  <a:gd name="connsiteX8" fmla="*/ 308975 w 5164898"/>
                  <a:gd name="connsiteY8" fmla="*/ 720503 h 1078190"/>
                  <a:gd name="connsiteX0" fmla="*/ 308975 w 5164898"/>
                  <a:gd name="connsiteY0" fmla="*/ 720503 h 1078190"/>
                  <a:gd name="connsiteX1" fmla="*/ 0 w 5164898"/>
                  <a:gd name="connsiteY1" fmla="*/ 603593 h 1078190"/>
                  <a:gd name="connsiteX2" fmla="*/ 1436318 w 5164898"/>
                  <a:gd name="connsiteY2" fmla="*/ 19045 h 1078190"/>
                  <a:gd name="connsiteX3" fmla="*/ 3444657 w 5164898"/>
                  <a:gd name="connsiteY3" fmla="*/ 703801 h 1078190"/>
                  <a:gd name="connsiteX4" fmla="*/ 4346531 w 5164898"/>
                  <a:gd name="connsiteY4" fmla="*/ 808185 h 1078190"/>
                  <a:gd name="connsiteX5" fmla="*/ 5164898 w 5164898"/>
                  <a:gd name="connsiteY5" fmla="*/ 778957 h 1078190"/>
                  <a:gd name="connsiteX6" fmla="*/ 3820438 w 5164898"/>
                  <a:gd name="connsiteY6" fmla="*/ 1046179 h 1078190"/>
                  <a:gd name="connsiteX7" fmla="*/ 1511474 w 5164898"/>
                  <a:gd name="connsiteY7" fmla="*/ 257040 h 1078190"/>
                  <a:gd name="connsiteX8" fmla="*/ 308975 w 5164898"/>
                  <a:gd name="connsiteY8" fmla="*/ 720503 h 1078190"/>
                  <a:gd name="connsiteX0" fmla="*/ 308975 w 5164898"/>
                  <a:gd name="connsiteY0" fmla="*/ 720503 h 1078190"/>
                  <a:gd name="connsiteX1" fmla="*/ 0 w 5164898"/>
                  <a:gd name="connsiteY1" fmla="*/ 603593 h 1078190"/>
                  <a:gd name="connsiteX2" fmla="*/ 1436318 w 5164898"/>
                  <a:gd name="connsiteY2" fmla="*/ 19045 h 1078190"/>
                  <a:gd name="connsiteX3" fmla="*/ 3444657 w 5164898"/>
                  <a:gd name="connsiteY3" fmla="*/ 703801 h 1078190"/>
                  <a:gd name="connsiteX4" fmla="*/ 4346531 w 5164898"/>
                  <a:gd name="connsiteY4" fmla="*/ 808185 h 1078190"/>
                  <a:gd name="connsiteX5" fmla="*/ 5164898 w 5164898"/>
                  <a:gd name="connsiteY5" fmla="*/ 778957 h 1078190"/>
                  <a:gd name="connsiteX6" fmla="*/ 3820438 w 5164898"/>
                  <a:gd name="connsiteY6" fmla="*/ 1046179 h 1078190"/>
                  <a:gd name="connsiteX7" fmla="*/ 1511474 w 5164898"/>
                  <a:gd name="connsiteY7" fmla="*/ 257040 h 1078190"/>
                  <a:gd name="connsiteX8" fmla="*/ 308975 w 5164898"/>
                  <a:gd name="connsiteY8" fmla="*/ 720503 h 1078190"/>
                  <a:gd name="connsiteX0" fmla="*/ 308975 w 5164898"/>
                  <a:gd name="connsiteY0" fmla="*/ 720503 h 1078190"/>
                  <a:gd name="connsiteX1" fmla="*/ 0 w 5164898"/>
                  <a:gd name="connsiteY1" fmla="*/ 603593 h 1078190"/>
                  <a:gd name="connsiteX2" fmla="*/ 1436318 w 5164898"/>
                  <a:gd name="connsiteY2" fmla="*/ 19045 h 1078190"/>
                  <a:gd name="connsiteX3" fmla="*/ 3444657 w 5164898"/>
                  <a:gd name="connsiteY3" fmla="*/ 703801 h 1078190"/>
                  <a:gd name="connsiteX4" fmla="*/ 4346531 w 5164898"/>
                  <a:gd name="connsiteY4" fmla="*/ 808185 h 1078190"/>
                  <a:gd name="connsiteX5" fmla="*/ 5164898 w 5164898"/>
                  <a:gd name="connsiteY5" fmla="*/ 778957 h 1078190"/>
                  <a:gd name="connsiteX6" fmla="*/ 3820438 w 5164898"/>
                  <a:gd name="connsiteY6" fmla="*/ 1046179 h 1078190"/>
                  <a:gd name="connsiteX7" fmla="*/ 1511474 w 5164898"/>
                  <a:gd name="connsiteY7" fmla="*/ 257040 h 1078190"/>
                  <a:gd name="connsiteX8" fmla="*/ 308975 w 5164898"/>
                  <a:gd name="connsiteY8" fmla="*/ 720503 h 1078190"/>
                  <a:gd name="connsiteX0" fmla="*/ 308975 w 5164898"/>
                  <a:gd name="connsiteY0" fmla="*/ 720503 h 1078190"/>
                  <a:gd name="connsiteX1" fmla="*/ 0 w 5164898"/>
                  <a:gd name="connsiteY1" fmla="*/ 603593 h 1078190"/>
                  <a:gd name="connsiteX2" fmla="*/ 1436318 w 5164898"/>
                  <a:gd name="connsiteY2" fmla="*/ 19045 h 1078190"/>
                  <a:gd name="connsiteX3" fmla="*/ 3444657 w 5164898"/>
                  <a:gd name="connsiteY3" fmla="*/ 703801 h 1078190"/>
                  <a:gd name="connsiteX4" fmla="*/ 4346531 w 5164898"/>
                  <a:gd name="connsiteY4" fmla="*/ 808185 h 1078190"/>
                  <a:gd name="connsiteX5" fmla="*/ 5164898 w 5164898"/>
                  <a:gd name="connsiteY5" fmla="*/ 778957 h 1078190"/>
                  <a:gd name="connsiteX6" fmla="*/ 3820438 w 5164898"/>
                  <a:gd name="connsiteY6" fmla="*/ 1046179 h 1078190"/>
                  <a:gd name="connsiteX7" fmla="*/ 1511474 w 5164898"/>
                  <a:gd name="connsiteY7" fmla="*/ 257040 h 1078190"/>
                  <a:gd name="connsiteX8" fmla="*/ 308975 w 5164898"/>
                  <a:gd name="connsiteY8" fmla="*/ 720503 h 1078190"/>
                  <a:gd name="connsiteX0" fmla="*/ 308975 w 5164898"/>
                  <a:gd name="connsiteY0" fmla="*/ 720503 h 1078190"/>
                  <a:gd name="connsiteX1" fmla="*/ 0 w 5164898"/>
                  <a:gd name="connsiteY1" fmla="*/ 603593 h 1078190"/>
                  <a:gd name="connsiteX2" fmla="*/ 1436318 w 5164898"/>
                  <a:gd name="connsiteY2" fmla="*/ 19045 h 1078190"/>
                  <a:gd name="connsiteX3" fmla="*/ 3444657 w 5164898"/>
                  <a:gd name="connsiteY3" fmla="*/ 703801 h 1078190"/>
                  <a:gd name="connsiteX4" fmla="*/ 4346531 w 5164898"/>
                  <a:gd name="connsiteY4" fmla="*/ 808185 h 1078190"/>
                  <a:gd name="connsiteX5" fmla="*/ 5164898 w 5164898"/>
                  <a:gd name="connsiteY5" fmla="*/ 778957 h 1078190"/>
                  <a:gd name="connsiteX6" fmla="*/ 3820438 w 5164898"/>
                  <a:gd name="connsiteY6" fmla="*/ 1046179 h 1078190"/>
                  <a:gd name="connsiteX7" fmla="*/ 1511474 w 5164898"/>
                  <a:gd name="connsiteY7" fmla="*/ 257040 h 1078190"/>
                  <a:gd name="connsiteX8" fmla="*/ 308975 w 5164898"/>
                  <a:gd name="connsiteY8" fmla="*/ 720503 h 1078190"/>
                  <a:gd name="connsiteX0" fmla="*/ 308975 w 5164898"/>
                  <a:gd name="connsiteY0" fmla="*/ 734861 h 1092548"/>
                  <a:gd name="connsiteX1" fmla="*/ 0 w 5164898"/>
                  <a:gd name="connsiteY1" fmla="*/ 617951 h 1092548"/>
                  <a:gd name="connsiteX2" fmla="*/ 1436318 w 5164898"/>
                  <a:gd name="connsiteY2" fmla="*/ 33403 h 1092548"/>
                  <a:gd name="connsiteX3" fmla="*/ 3444657 w 5164898"/>
                  <a:gd name="connsiteY3" fmla="*/ 718159 h 1092548"/>
                  <a:gd name="connsiteX4" fmla="*/ 4346531 w 5164898"/>
                  <a:gd name="connsiteY4" fmla="*/ 822543 h 1092548"/>
                  <a:gd name="connsiteX5" fmla="*/ 5164898 w 5164898"/>
                  <a:gd name="connsiteY5" fmla="*/ 793315 h 1092548"/>
                  <a:gd name="connsiteX6" fmla="*/ 3820438 w 5164898"/>
                  <a:gd name="connsiteY6" fmla="*/ 1060537 h 1092548"/>
                  <a:gd name="connsiteX7" fmla="*/ 1511474 w 5164898"/>
                  <a:gd name="connsiteY7" fmla="*/ 271398 h 1092548"/>
                  <a:gd name="connsiteX8" fmla="*/ 308975 w 5164898"/>
                  <a:gd name="connsiteY8" fmla="*/ 734861 h 1092548"/>
                  <a:gd name="connsiteX0" fmla="*/ 308975 w 5164898"/>
                  <a:gd name="connsiteY0" fmla="*/ 701458 h 1059145"/>
                  <a:gd name="connsiteX1" fmla="*/ 0 w 5164898"/>
                  <a:gd name="connsiteY1" fmla="*/ 584548 h 1059145"/>
                  <a:gd name="connsiteX2" fmla="*/ 1436318 w 5164898"/>
                  <a:gd name="connsiteY2" fmla="*/ 0 h 1059145"/>
                  <a:gd name="connsiteX3" fmla="*/ 4346531 w 5164898"/>
                  <a:gd name="connsiteY3" fmla="*/ 789140 h 1059145"/>
                  <a:gd name="connsiteX4" fmla="*/ 5164898 w 5164898"/>
                  <a:gd name="connsiteY4" fmla="*/ 759912 h 1059145"/>
                  <a:gd name="connsiteX5" fmla="*/ 3820438 w 5164898"/>
                  <a:gd name="connsiteY5" fmla="*/ 1027134 h 1059145"/>
                  <a:gd name="connsiteX6" fmla="*/ 1511474 w 5164898"/>
                  <a:gd name="connsiteY6" fmla="*/ 237995 h 1059145"/>
                  <a:gd name="connsiteX7" fmla="*/ 308975 w 5164898"/>
                  <a:gd name="connsiteY7" fmla="*/ 701458 h 1059145"/>
                  <a:gd name="connsiteX0" fmla="*/ 308975 w 5164898"/>
                  <a:gd name="connsiteY0" fmla="*/ 772867 h 1130554"/>
                  <a:gd name="connsiteX1" fmla="*/ 0 w 5164898"/>
                  <a:gd name="connsiteY1" fmla="*/ 655957 h 1130554"/>
                  <a:gd name="connsiteX2" fmla="*/ 1436318 w 5164898"/>
                  <a:gd name="connsiteY2" fmla="*/ 71409 h 1130554"/>
                  <a:gd name="connsiteX3" fmla="*/ 4346531 w 5164898"/>
                  <a:gd name="connsiteY3" fmla="*/ 860549 h 1130554"/>
                  <a:gd name="connsiteX4" fmla="*/ 5164898 w 5164898"/>
                  <a:gd name="connsiteY4" fmla="*/ 831321 h 1130554"/>
                  <a:gd name="connsiteX5" fmla="*/ 3820438 w 5164898"/>
                  <a:gd name="connsiteY5" fmla="*/ 1098543 h 1130554"/>
                  <a:gd name="connsiteX6" fmla="*/ 1511474 w 5164898"/>
                  <a:gd name="connsiteY6" fmla="*/ 309404 h 1130554"/>
                  <a:gd name="connsiteX7" fmla="*/ 308975 w 5164898"/>
                  <a:gd name="connsiteY7" fmla="*/ 772867 h 1130554"/>
                  <a:gd name="connsiteX0" fmla="*/ 308975 w 5164898"/>
                  <a:gd name="connsiteY0" fmla="*/ 772867 h 1130554"/>
                  <a:gd name="connsiteX1" fmla="*/ 0 w 5164898"/>
                  <a:gd name="connsiteY1" fmla="*/ 655957 h 1130554"/>
                  <a:gd name="connsiteX2" fmla="*/ 1436318 w 5164898"/>
                  <a:gd name="connsiteY2" fmla="*/ 71409 h 1130554"/>
                  <a:gd name="connsiteX3" fmla="*/ 4346531 w 5164898"/>
                  <a:gd name="connsiteY3" fmla="*/ 860549 h 1130554"/>
                  <a:gd name="connsiteX4" fmla="*/ 5164898 w 5164898"/>
                  <a:gd name="connsiteY4" fmla="*/ 831321 h 1130554"/>
                  <a:gd name="connsiteX5" fmla="*/ 3820438 w 5164898"/>
                  <a:gd name="connsiteY5" fmla="*/ 1098543 h 1130554"/>
                  <a:gd name="connsiteX6" fmla="*/ 1511474 w 5164898"/>
                  <a:gd name="connsiteY6" fmla="*/ 309404 h 1130554"/>
                  <a:gd name="connsiteX7" fmla="*/ 308975 w 5164898"/>
                  <a:gd name="connsiteY7" fmla="*/ 772867 h 1130554"/>
                  <a:gd name="connsiteX0" fmla="*/ 308975 w 5164898"/>
                  <a:gd name="connsiteY0" fmla="*/ 772867 h 1138343"/>
                  <a:gd name="connsiteX1" fmla="*/ 0 w 5164898"/>
                  <a:gd name="connsiteY1" fmla="*/ 655957 h 1138343"/>
                  <a:gd name="connsiteX2" fmla="*/ 1436318 w 5164898"/>
                  <a:gd name="connsiteY2" fmla="*/ 71409 h 1138343"/>
                  <a:gd name="connsiteX3" fmla="*/ 4346531 w 5164898"/>
                  <a:gd name="connsiteY3" fmla="*/ 860549 h 1138343"/>
                  <a:gd name="connsiteX4" fmla="*/ 5164898 w 5164898"/>
                  <a:gd name="connsiteY4" fmla="*/ 831321 h 1138343"/>
                  <a:gd name="connsiteX5" fmla="*/ 3820438 w 5164898"/>
                  <a:gd name="connsiteY5" fmla="*/ 1098543 h 1138343"/>
                  <a:gd name="connsiteX6" fmla="*/ 1511474 w 5164898"/>
                  <a:gd name="connsiteY6" fmla="*/ 309404 h 1138343"/>
                  <a:gd name="connsiteX7" fmla="*/ 308975 w 5164898"/>
                  <a:gd name="connsiteY7" fmla="*/ 772867 h 1138343"/>
                  <a:gd name="connsiteX0" fmla="*/ 308975 w 5164898"/>
                  <a:gd name="connsiteY0" fmla="*/ 825621 h 1191097"/>
                  <a:gd name="connsiteX1" fmla="*/ 0 w 5164898"/>
                  <a:gd name="connsiteY1" fmla="*/ 708711 h 1191097"/>
                  <a:gd name="connsiteX2" fmla="*/ 1436318 w 5164898"/>
                  <a:gd name="connsiteY2" fmla="*/ 124163 h 1191097"/>
                  <a:gd name="connsiteX3" fmla="*/ 4346531 w 5164898"/>
                  <a:gd name="connsiteY3" fmla="*/ 913303 h 1191097"/>
                  <a:gd name="connsiteX4" fmla="*/ 5164898 w 5164898"/>
                  <a:gd name="connsiteY4" fmla="*/ 884075 h 1191097"/>
                  <a:gd name="connsiteX5" fmla="*/ 3820438 w 5164898"/>
                  <a:gd name="connsiteY5" fmla="*/ 1151297 h 1191097"/>
                  <a:gd name="connsiteX6" fmla="*/ 1511474 w 5164898"/>
                  <a:gd name="connsiteY6" fmla="*/ 362158 h 1191097"/>
                  <a:gd name="connsiteX7" fmla="*/ 308975 w 5164898"/>
                  <a:gd name="connsiteY7" fmla="*/ 825621 h 1191097"/>
                  <a:gd name="connsiteX0" fmla="*/ 308975 w 5164898"/>
                  <a:gd name="connsiteY0" fmla="*/ 825621 h 1183308"/>
                  <a:gd name="connsiteX1" fmla="*/ 0 w 5164898"/>
                  <a:gd name="connsiteY1" fmla="*/ 708711 h 1183308"/>
                  <a:gd name="connsiteX2" fmla="*/ 1436318 w 5164898"/>
                  <a:gd name="connsiteY2" fmla="*/ 124163 h 1183308"/>
                  <a:gd name="connsiteX3" fmla="*/ 4346531 w 5164898"/>
                  <a:gd name="connsiteY3" fmla="*/ 913303 h 1183308"/>
                  <a:gd name="connsiteX4" fmla="*/ 5164898 w 5164898"/>
                  <a:gd name="connsiteY4" fmla="*/ 884075 h 1183308"/>
                  <a:gd name="connsiteX5" fmla="*/ 3820438 w 5164898"/>
                  <a:gd name="connsiteY5" fmla="*/ 1151297 h 1183308"/>
                  <a:gd name="connsiteX6" fmla="*/ 1511474 w 5164898"/>
                  <a:gd name="connsiteY6" fmla="*/ 362158 h 1183308"/>
                  <a:gd name="connsiteX7" fmla="*/ 308975 w 5164898"/>
                  <a:gd name="connsiteY7" fmla="*/ 825621 h 1183308"/>
                  <a:gd name="connsiteX0" fmla="*/ 308975 w 5164898"/>
                  <a:gd name="connsiteY0" fmla="*/ 825621 h 1183308"/>
                  <a:gd name="connsiteX1" fmla="*/ 0 w 5164898"/>
                  <a:gd name="connsiteY1" fmla="*/ 708711 h 1183308"/>
                  <a:gd name="connsiteX2" fmla="*/ 1436318 w 5164898"/>
                  <a:gd name="connsiteY2" fmla="*/ 124163 h 1183308"/>
                  <a:gd name="connsiteX3" fmla="*/ 4346531 w 5164898"/>
                  <a:gd name="connsiteY3" fmla="*/ 913303 h 1183308"/>
                  <a:gd name="connsiteX4" fmla="*/ 5164898 w 5164898"/>
                  <a:gd name="connsiteY4" fmla="*/ 884075 h 1183308"/>
                  <a:gd name="connsiteX5" fmla="*/ 3820438 w 5164898"/>
                  <a:gd name="connsiteY5" fmla="*/ 1151297 h 1183308"/>
                  <a:gd name="connsiteX6" fmla="*/ 1511474 w 5164898"/>
                  <a:gd name="connsiteY6" fmla="*/ 362158 h 1183308"/>
                  <a:gd name="connsiteX7" fmla="*/ 308975 w 5164898"/>
                  <a:gd name="connsiteY7" fmla="*/ 825621 h 1183308"/>
                  <a:gd name="connsiteX0" fmla="*/ 308975 w 5164898"/>
                  <a:gd name="connsiteY0" fmla="*/ 746490 h 1104177"/>
                  <a:gd name="connsiteX1" fmla="*/ 0 w 5164898"/>
                  <a:gd name="connsiteY1" fmla="*/ 629580 h 1104177"/>
                  <a:gd name="connsiteX2" fmla="*/ 1436318 w 5164898"/>
                  <a:gd name="connsiteY2" fmla="*/ 45032 h 1104177"/>
                  <a:gd name="connsiteX3" fmla="*/ 4346531 w 5164898"/>
                  <a:gd name="connsiteY3" fmla="*/ 834172 h 1104177"/>
                  <a:gd name="connsiteX4" fmla="*/ 5164898 w 5164898"/>
                  <a:gd name="connsiteY4" fmla="*/ 804944 h 1104177"/>
                  <a:gd name="connsiteX5" fmla="*/ 3820438 w 5164898"/>
                  <a:gd name="connsiteY5" fmla="*/ 1072166 h 1104177"/>
                  <a:gd name="connsiteX6" fmla="*/ 1511474 w 5164898"/>
                  <a:gd name="connsiteY6" fmla="*/ 283027 h 1104177"/>
                  <a:gd name="connsiteX7" fmla="*/ 308975 w 5164898"/>
                  <a:gd name="connsiteY7" fmla="*/ 746490 h 1104177"/>
                  <a:gd name="connsiteX0" fmla="*/ 308975 w 5164898"/>
                  <a:gd name="connsiteY0" fmla="*/ 746490 h 1104177"/>
                  <a:gd name="connsiteX1" fmla="*/ 0 w 5164898"/>
                  <a:gd name="connsiteY1" fmla="*/ 629580 h 1104177"/>
                  <a:gd name="connsiteX2" fmla="*/ 1436318 w 5164898"/>
                  <a:gd name="connsiteY2" fmla="*/ 45032 h 1104177"/>
                  <a:gd name="connsiteX3" fmla="*/ 4332244 w 5164898"/>
                  <a:gd name="connsiteY3" fmla="*/ 841316 h 1104177"/>
                  <a:gd name="connsiteX4" fmla="*/ 5164898 w 5164898"/>
                  <a:gd name="connsiteY4" fmla="*/ 804944 h 1104177"/>
                  <a:gd name="connsiteX5" fmla="*/ 3820438 w 5164898"/>
                  <a:gd name="connsiteY5" fmla="*/ 1072166 h 1104177"/>
                  <a:gd name="connsiteX6" fmla="*/ 1511474 w 5164898"/>
                  <a:gd name="connsiteY6" fmla="*/ 283027 h 1104177"/>
                  <a:gd name="connsiteX7" fmla="*/ 308975 w 5164898"/>
                  <a:gd name="connsiteY7" fmla="*/ 746490 h 1104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64898" h="1104177">
                    <a:moveTo>
                      <a:pt x="308975" y="746490"/>
                    </a:moveTo>
                    <a:lnTo>
                      <a:pt x="0" y="629580"/>
                    </a:lnTo>
                    <a:cubicBezTo>
                      <a:pt x="449546" y="367925"/>
                      <a:pt x="995122" y="71036"/>
                      <a:pt x="1436318" y="45032"/>
                    </a:cubicBezTo>
                    <a:cubicBezTo>
                      <a:pt x="2908087" y="0"/>
                      <a:pt x="3262406" y="1083940"/>
                      <a:pt x="4332244" y="841316"/>
                    </a:cubicBezTo>
                    <a:cubicBezTo>
                      <a:pt x="4645556" y="961009"/>
                      <a:pt x="4921337" y="831388"/>
                      <a:pt x="5164898" y="804944"/>
                    </a:cubicBezTo>
                    <a:cubicBezTo>
                      <a:pt x="4586891" y="1086084"/>
                      <a:pt x="4046065" y="1104177"/>
                      <a:pt x="3820438" y="1072166"/>
                    </a:cubicBezTo>
                    <a:cubicBezTo>
                      <a:pt x="2884876" y="914895"/>
                      <a:pt x="2519123" y="240108"/>
                      <a:pt x="1511474" y="283027"/>
                    </a:cubicBezTo>
                    <a:cubicBezTo>
                      <a:pt x="839244" y="341482"/>
                      <a:pt x="627288" y="583652"/>
                      <a:pt x="308975" y="746490"/>
                    </a:cubicBezTo>
                    <a:close/>
                  </a:path>
                </a:pathLst>
              </a:custGeom>
              <a:solidFill>
                <a:srgbClr val="79A2B3"/>
              </a:solidFill>
              <a:ln w="9525">
                <a:solidFill>
                  <a:srgbClr val="79A2B3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</p:txBody>
          </p:sp>
          <p:sp>
            <p:nvSpPr>
              <p:cNvPr id="167" name="Freeform 166"/>
              <p:cNvSpPr/>
              <p:nvPr/>
            </p:nvSpPr>
            <p:spPr>
              <a:xfrm>
                <a:off x="3748648" y="2127407"/>
                <a:ext cx="2561126" cy="642932"/>
              </a:xfrm>
              <a:custGeom>
                <a:avLst/>
                <a:gdLst>
                  <a:gd name="connsiteX0" fmla="*/ 288099 w 2329841"/>
                  <a:gd name="connsiteY0" fmla="*/ 154488 h 588723"/>
                  <a:gd name="connsiteX1" fmla="*/ 0 w 2329841"/>
                  <a:gd name="connsiteY1" fmla="*/ 0 h 588723"/>
                  <a:gd name="connsiteX2" fmla="*/ 2329841 w 2329841"/>
                  <a:gd name="connsiteY2" fmla="*/ 588723 h 588723"/>
                  <a:gd name="connsiteX3" fmla="*/ 1749469 w 2329841"/>
                  <a:gd name="connsiteY3" fmla="*/ 584548 h 588723"/>
                  <a:gd name="connsiteX4" fmla="*/ 780789 w 2329841"/>
                  <a:gd name="connsiteY4" fmla="*/ 150312 h 588723"/>
                  <a:gd name="connsiteX5" fmla="*/ 288099 w 2329841"/>
                  <a:gd name="connsiteY5" fmla="*/ 154488 h 588723"/>
                  <a:gd name="connsiteX0" fmla="*/ 288099 w 2329841"/>
                  <a:gd name="connsiteY0" fmla="*/ 488516 h 922751"/>
                  <a:gd name="connsiteX1" fmla="*/ 0 w 2329841"/>
                  <a:gd name="connsiteY1" fmla="*/ 334028 h 922751"/>
                  <a:gd name="connsiteX2" fmla="*/ 2329841 w 2329841"/>
                  <a:gd name="connsiteY2" fmla="*/ 922751 h 922751"/>
                  <a:gd name="connsiteX3" fmla="*/ 1749469 w 2329841"/>
                  <a:gd name="connsiteY3" fmla="*/ 918576 h 922751"/>
                  <a:gd name="connsiteX4" fmla="*/ 780789 w 2329841"/>
                  <a:gd name="connsiteY4" fmla="*/ 484340 h 922751"/>
                  <a:gd name="connsiteX5" fmla="*/ 288099 w 2329841"/>
                  <a:gd name="connsiteY5" fmla="*/ 488516 h 922751"/>
                  <a:gd name="connsiteX0" fmla="*/ 288099 w 2329841"/>
                  <a:gd name="connsiteY0" fmla="*/ 488516 h 922751"/>
                  <a:gd name="connsiteX1" fmla="*/ 0 w 2329841"/>
                  <a:gd name="connsiteY1" fmla="*/ 334028 h 922751"/>
                  <a:gd name="connsiteX2" fmla="*/ 2329841 w 2329841"/>
                  <a:gd name="connsiteY2" fmla="*/ 922751 h 922751"/>
                  <a:gd name="connsiteX3" fmla="*/ 1749469 w 2329841"/>
                  <a:gd name="connsiteY3" fmla="*/ 918576 h 922751"/>
                  <a:gd name="connsiteX4" fmla="*/ 780789 w 2329841"/>
                  <a:gd name="connsiteY4" fmla="*/ 484340 h 922751"/>
                  <a:gd name="connsiteX5" fmla="*/ 288099 w 2329841"/>
                  <a:gd name="connsiteY5" fmla="*/ 488516 h 922751"/>
                  <a:gd name="connsiteX0" fmla="*/ 288099 w 2329841"/>
                  <a:gd name="connsiteY0" fmla="*/ 517743 h 951978"/>
                  <a:gd name="connsiteX1" fmla="*/ 0 w 2329841"/>
                  <a:gd name="connsiteY1" fmla="*/ 363255 h 951978"/>
                  <a:gd name="connsiteX2" fmla="*/ 2329841 w 2329841"/>
                  <a:gd name="connsiteY2" fmla="*/ 951978 h 951978"/>
                  <a:gd name="connsiteX3" fmla="*/ 1749469 w 2329841"/>
                  <a:gd name="connsiteY3" fmla="*/ 947803 h 951978"/>
                  <a:gd name="connsiteX4" fmla="*/ 780789 w 2329841"/>
                  <a:gd name="connsiteY4" fmla="*/ 513567 h 951978"/>
                  <a:gd name="connsiteX5" fmla="*/ 288099 w 2329841"/>
                  <a:gd name="connsiteY5" fmla="*/ 517743 h 951978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49469 w 2329841"/>
                  <a:gd name="connsiteY3" fmla="*/ 947803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49469 w 2329841"/>
                  <a:gd name="connsiteY3" fmla="*/ 947803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49469 w 2329841"/>
                  <a:gd name="connsiteY3" fmla="*/ 947803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49469 w 2329841"/>
                  <a:gd name="connsiteY3" fmla="*/ 947803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49469 w 2329841"/>
                  <a:gd name="connsiteY3" fmla="*/ 947803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49469 w 2329841"/>
                  <a:gd name="connsiteY3" fmla="*/ 947803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49469 w 2329841"/>
                  <a:gd name="connsiteY3" fmla="*/ 947803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49469 w 2329841"/>
                  <a:gd name="connsiteY3" fmla="*/ 947803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49469 w 2329841"/>
                  <a:gd name="connsiteY3" fmla="*/ 947803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288099 w 2329841"/>
                  <a:gd name="connsiteY0" fmla="*/ 517743 h 1017393"/>
                  <a:gd name="connsiteX1" fmla="*/ 0 w 2329841"/>
                  <a:gd name="connsiteY1" fmla="*/ 363255 h 1017393"/>
                  <a:gd name="connsiteX2" fmla="*/ 2329841 w 2329841"/>
                  <a:gd name="connsiteY2" fmla="*/ 951978 h 1017393"/>
                  <a:gd name="connsiteX3" fmla="*/ 1766171 w 2329841"/>
                  <a:gd name="connsiteY3" fmla="*/ 960329 h 1017393"/>
                  <a:gd name="connsiteX4" fmla="*/ 780789 w 2329841"/>
                  <a:gd name="connsiteY4" fmla="*/ 513567 h 1017393"/>
                  <a:gd name="connsiteX5" fmla="*/ 288099 w 2329841"/>
                  <a:gd name="connsiteY5" fmla="*/ 517743 h 1017393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57821 w 2329841"/>
                  <a:gd name="connsiteY3" fmla="*/ 906049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24418 w 2329841"/>
                  <a:gd name="connsiteY3" fmla="*/ 935277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24418 w 2329841"/>
                  <a:gd name="connsiteY3" fmla="*/ 935277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24418 w 2329841"/>
                  <a:gd name="connsiteY3" fmla="*/ 935277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24418 w 2329841"/>
                  <a:gd name="connsiteY3" fmla="*/ 935277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288099 w 2329841"/>
                  <a:gd name="connsiteY0" fmla="*/ 517743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24418 w 2329841"/>
                  <a:gd name="connsiteY3" fmla="*/ 935277 h 1017392"/>
                  <a:gd name="connsiteX4" fmla="*/ 780789 w 2329841"/>
                  <a:gd name="connsiteY4" fmla="*/ 513567 h 1017392"/>
                  <a:gd name="connsiteX5" fmla="*/ 288099 w 2329841"/>
                  <a:gd name="connsiteY5" fmla="*/ 517743 h 1017392"/>
                  <a:gd name="connsiteX0" fmla="*/ 300005 w 2329841"/>
                  <a:gd name="connsiteY0" fmla="*/ 510599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24418 w 2329841"/>
                  <a:gd name="connsiteY3" fmla="*/ 935277 h 1017392"/>
                  <a:gd name="connsiteX4" fmla="*/ 780789 w 2329841"/>
                  <a:gd name="connsiteY4" fmla="*/ 513567 h 1017392"/>
                  <a:gd name="connsiteX5" fmla="*/ 300005 w 2329841"/>
                  <a:gd name="connsiteY5" fmla="*/ 510599 h 1017392"/>
                  <a:gd name="connsiteX0" fmla="*/ 304767 w 2329841"/>
                  <a:gd name="connsiteY0" fmla="*/ 503455 h 1017392"/>
                  <a:gd name="connsiteX1" fmla="*/ 0 w 2329841"/>
                  <a:gd name="connsiteY1" fmla="*/ 363255 h 1017392"/>
                  <a:gd name="connsiteX2" fmla="*/ 2329841 w 2329841"/>
                  <a:gd name="connsiteY2" fmla="*/ 951978 h 1017392"/>
                  <a:gd name="connsiteX3" fmla="*/ 1724418 w 2329841"/>
                  <a:gd name="connsiteY3" fmla="*/ 935277 h 1017392"/>
                  <a:gd name="connsiteX4" fmla="*/ 780789 w 2329841"/>
                  <a:gd name="connsiteY4" fmla="*/ 513567 h 1017392"/>
                  <a:gd name="connsiteX5" fmla="*/ 304767 w 2329841"/>
                  <a:gd name="connsiteY5" fmla="*/ 503455 h 1017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29841" h="1017392">
                    <a:moveTo>
                      <a:pt x="304767" y="503455"/>
                    </a:moveTo>
                    <a:lnTo>
                      <a:pt x="0" y="363255"/>
                    </a:lnTo>
                    <a:cubicBezTo>
                      <a:pt x="953084" y="0"/>
                      <a:pt x="1799751" y="914400"/>
                      <a:pt x="2329841" y="951978"/>
                    </a:cubicBezTo>
                    <a:cubicBezTo>
                      <a:pt x="2098388" y="1017392"/>
                      <a:pt x="1867771" y="1000691"/>
                      <a:pt x="1724418" y="935277"/>
                    </a:cubicBezTo>
                    <a:cubicBezTo>
                      <a:pt x="1420058" y="786356"/>
                      <a:pt x="1105877" y="624909"/>
                      <a:pt x="780789" y="513567"/>
                    </a:cubicBezTo>
                    <a:cubicBezTo>
                      <a:pt x="608209" y="473205"/>
                      <a:pt x="477348" y="464485"/>
                      <a:pt x="304767" y="503455"/>
                    </a:cubicBezTo>
                    <a:close/>
                  </a:path>
                </a:pathLst>
              </a:custGeom>
              <a:solidFill>
                <a:srgbClr val="BCDEC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chemeClr val="folHlink"/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</p:txBody>
          </p:sp>
          <p:sp>
            <p:nvSpPr>
              <p:cNvPr id="168" name="Freeform 167"/>
              <p:cNvSpPr/>
              <p:nvPr/>
            </p:nvSpPr>
            <p:spPr>
              <a:xfrm>
                <a:off x="6102646" y="2541909"/>
                <a:ext cx="1084019" cy="184559"/>
              </a:xfrm>
              <a:custGeom>
                <a:avLst/>
                <a:gdLst>
                  <a:gd name="connsiteX0" fmla="*/ 0 w 985381"/>
                  <a:gd name="connsiteY0" fmla="*/ 179539 h 208767"/>
                  <a:gd name="connsiteX1" fmla="*/ 467638 w 985381"/>
                  <a:gd name="connsiteY1" fmla="*/ 0 h 208767"/>
                  <a:gd name="connsiteX2" fmla="*/ 985381 w 985381"/>
                  <a:gd name="connsiteY2" fmla="*/ 75156 h 208767"/>
                  <a:gd name="connsiteX3" fmla="*/ 555321 w 985381"/>
                  <a:gd name="connsiteY3" fmla="*/ 208767 h 208767"/>
                  <a:gd name="connsiteX4" fmla="*/ 0 w 985381"/>
                  <a:gd name="connsiteY4" fmla="*/ 179539 h 208767"/>
                  <a:gd name="connsiteX0" fmla="*/ 0 w 985381"/>
                  <a:gd name="connsiteY0" fmla="*/ 179539 h 208767"/>
                  <a:gd name="connsiteX1" fmla="*/ 467638 w 985381"/>
                  <a:gd name="connsiteY1" fmla="*/ 0 h 208767"/>
                  <a:gd name="connsiteX2" fmla="*/ 985381 w 985381"/>
                  <a:gd name="connsiteY2" fmla="*/ 75156 h 208767"/>
                  <a:gd name="connsiteX3" fmla="*/ 555321 w 985381"/>
                  <a:gd name="connsiteY3" fmla="*/ 208767 h 208767"/>
                  <a:gd name="connsiteX4" fmla="*/ 0 w 985381"/>
                  <a:gd name="connsiteY4" fmla="*/ 179539 h 208767"/>
                  <a:gd name="connsiteX0" fmla="*/ 0 w 985381"/>
                  <a:gd name="connsiteY0" fmla="*/ 179539 h 208767"/>
                  <a:gd name="connsiteX1" fmla="*/ 467638 w 985381"/>
                  <a:gd name="connsiteY1" fmla="*/ 0 h 208767"/>
                  <a:gd name="connsiteX2" fmla="*/ 985381 w 985381"/>
                  <a:gd name="connsiteY2" fmla="*/ 75156 h 208767"/>
                  <a:gd name="connsiteX3" fmla="*/ 555321 w 985381"/>
                  <a:gd name="connsiteY3" fmla="*/ 208767 h 208767"/>
                  <a:gd name="connsiteX4" fmla="*/ 0 w 985381"/>
                  <a:gd name="connsiteY4" fmla="*/ 179539 h 208767"/>
                  <a:gd name="connsiteX0" fmla="*/ 0 w 985381"/>
                  <a:gd name="connsiteY0" fmla="*/ 200416 h 229644"/>
                  <a:gd name="connsiteX1" fmla="*/ 467638 w 985381"/>
                  <a:gd name="connsiteY1" fmla="*/ 20877 h 229644"/>
                  <a:gd name="connsiteX2" fmla="*/ 985381 w 985381"/>
                  <a:gd name="connsiteY2" fmla="*/ 96033 h 229644"/>
                  <a:gd name="connsiteX3" fmla="*/ 555321 w 985381"/>
                  <a:gd name="connsiteY3" fmla="*/ 229644 h 229644"/>
                  <a:gd name="connsiteX4" fmla="*/ 0 w 985381"/>
                  <a:gd name="connsiteY4" fmla="*/ 200416 h 229644"/>
                  <a:gd name="connsiteX0" fmla="*/ 0 w 985381"/>
                  <a:gd name="connsiteY0" fmla="*/ 200416 h 229644"/>
                  <a:gd name="connsiteX1" fmla="*/ 467638 w 985381"/>
                  <a:gd name="connsiteY1" fmla="*/ 20877 h 229644"/>
                  <a:gd name="connsiteX2" fmla="*/ 985381 w 985381"/>
                  <a:gd name="connsiteY2" fmla="*/ 96033 h 229644"/>
                  <a:gd name="connsiteX3" fmla="*/ 555321 w 985381"/>
                  <a:gd name="connsiteY3" fmla="*/ 229644 h 229644"/>
                  <a:gd name="connsiteX4" fmla="*/ 0 w 985381"/>
                  <a:gd name="connsiteY4" fmla="*/ 200416 h 229644"/>
                  <a:gd name="connsiteX0" fmla="*/ 0 w 985381"/>
                  <a:gd name="connsiteY0" fmla="*/ 200416 h 229644"/>
                  <a:gd name="connsiteX1" fmla="*/ 467638 w 985381"/>
                  <a:gd name="connsiteY1" fmla="*/ 20877 h 229644"/>
                  <a:gd name="connsiteX2" fmla="*/ 985381 w 985381"/>
                  <a:gd name="connsiteY2" fmla="*/ 96033 h 229644"/>
                  <a:gd name="connsiteX3" fmla="*/ 555321 w 985381"/>
                  <a:gd name="connsiteY3" fmla="*/ 229644 h 229644"/>
                  <a:gd name="connsiteX4" fmla="*/ 0 w 985381"/>
                  <a:gd name="connsiteY4" fmla="*/ 200416 h 229644"/>
                  <a:gd name="connsiteX0" fmla="*/ 0 w 985381"/>
                  <a:gd name="connsiteY0" fmla="*/ 200416 h 229644"/>
                  <a:gd name="connsiteX1" fmla="*/ 467638 w 985381"/>
                  <a:gd name="connsiteY1" fmla="*/ 20877 h 229644"/>
                  <a:gd name="connsiteX2" fmla="*/ 985381 w 985381"/>
                  <a:gd name="connsiteY2" fmla="*/ 96033 h 229644"/>
                  <a:gd name="connsiteX3" fmla="*/ 555321 w 985381"/>
                  <a:gd name="connsiteY3" fmla="*/ 229644 h 229644"/>
                  <a:gd name="connsiteX4" fmla="*/ 0 w 985381"/>
                  <a:gd name="connsiteY4" fmla="*/ 200416 h 229644"/>
                  <a:gd name="connsiteX0" fmla="*/ 0 w 985381"/>
                  <a:gd name="connsiteY0" fmla="*/ 200416 h 290882"/>
                  <a:gd name="connsiteX1" fmla="*/ 467638 w 985381"/>
                  <a:gd name="connsiteY1" fmla="*/ 20877 h 290882"/>
                  <a:gd name="connsiteX2" fmla="*/ 985381 w 985381"/>
                  <a:gd name="connsiteY2" fmla="*/ 96033 h 290882"/>
                  <a:gd name="connsiteX3" fmla="*/ 555321 w 985381"/>
                  <a:gd name="connsiteY3" fmla="*/ 229644 h 290882"/>
                  <a:gd name="connsiteX4" fmla="*/ 0 w 985381"/>
                  <a:gd name="connsiteY4" fmla="*/ 200416 h 290882"/>
                  <a:gd name="connsiteX0" fmla="*/ 0 w 985381"/>
                  <a:gd name="connsiteY0" fmla="*/ 200416 h 290882"/>
                  <a:gd name="connsiteX1" fmla="*/ 467638 w 985381"/>
                  <a:gd name="connsiteY1" fmla="*/ 20877 h 290882"/>
                  <a:gd name="connsiteX2" fmla="*/ 985381 w 985381"/>
                  <a:gd name="connsiteY2" fmla="*/ 96033 h 290882"/>
                  <a:gd name="connsiteX3" fmla="*/ 555321 w 985381"/>
                  <a:gd name="connsiteY3" fmla="*/ 229644 h 290882"/>
                  <a:gd name="connsiteX4" fmla="*/ 0 w 985381"/>
                  <a:gd name="connsiteY4" fmla="*/ 200416 h 290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5381" h="290882">
                    <a:moveTo>
                      <a:pt x="0" y="200416"/>
                    </a:moveTo>
                    <a:cubicBezTo>
                      <a:pt x="122476" y="132219"/>
                      <a:pt x="295058" y="47320"/>
                      <a:pt x="467638" y="20877"/>
                    </a:cubicBezTo>
                    <a:cubicBezTo>
                      <a:pt x="669447" y="0"/>
                      <a:pt x="829501" y="25053"/>
                      <a:pt x="985381" y="96033"/>
                    </a:cubicBezTo>
                    <a:cubicBezTo>
                      <a:pt x="833677" y="111342"/>
                      <a:pt x="698674" y="172581"/>
                      <a:pt x="555321" y="229644"/>
                    </a:cubicBezTo>
                    <a:cubicBezTo>
                      <a:pt x="391090" y="290882"/>
                      <a:pt x="151705" y="272789"/>
                      <a:pt x="0" y="200416"/>
                    </a:cubicBezTo>
                    <a:close/>
                  </a:path>
                </a:pathLst>
              </a:custGeom>
              <a:solidFill>
                <a:srgbClr val="79A2B3"/>
              </a:solidFill>
              <a:ln w="9525">
                <a:solidFill>
                  <a:srgbClr val="79A2B3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</p:txBody>
          </p:sp>
          <p:sp>
            <p:nvSpPr>
              <p:cNvPr id="169" name="Freeform 168"/>
              <p:cNvSpPr/>
              <p:nvPr/>
            </p:nvSpPr>
            <p:spPr>
              <a:xfrm>
                <a:off x="6668089" y="2396682"/>
                <a:ext cx="1950326" cy="400887"/>
              </a:xfrm>
              <a:custGeom>
                <a:avLst/>
                <a:gdLst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4521" h="634652">
                    <a:moveTo>
                      <a:pt x="0" y="212942"/>
                    </a:moveTo>
                    <a:cubicBezTo>
                      <a:pt x="251913" y="80723"/>
                      <a:pt x="662487" y="157272"/>
                      <a:pt x="818367" y="179540"/>
                    </a:cubicBezTo>
                    <a:cubicBezTo>
                      <a:pt x="1032701" y="201809"/>
                      <a:pt x="1238685" y="190674"/>
                      <a:pt x="1448844" y="196241"/>
                    </a:cubicBezTo>
                    <a:lnTo>
                      <a:pt x="1448844" y="0"/>
                    </a:lnTo>
                    <a:lnTo>
                      <a:pt x="1774521" y="313151"/>
                    </a:lnTo>
                    <a:lnTo>
                      <a:pt x="1448844" y="634652"/>
                    </a:lnTo>
                    <a:lnTo>
                      <a:pt x="1448844" y="421710"/>
                    </a:lnTo>
                    <a:lnTo>
                      <a:pt x="931102" y="413359"/>
                    </a:lnTo>
                    <a:cubicBezTo>
                      <a:pt x="620735" y="409183"/>
                      <a:pt x="427277" y="179540"/>
                      <a:pt x="0" y="212942"/>
                    </a:cubicBezTo>
                    <a:close/>
                  </a:path>
                </a:pathLst>
              </a:custGeom>
              <a:solidFill>
                <a:srgbClr val="D8CEB8"/>
              </a:solidFill>
              <a:ln w="9525">
                <a:solidFill>
                  <a:srgbClr val="D8CEB8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</p:txBody>
          </p:sp>
          <p:sp>
            <p:nvSpPr>
              <p:cNvPr id="10257" name="TextBox 169"/>
              <p:cNvSpPr txBox="1">
                <a:spLocks noChangeArrowheads="1"/>
              </p:cNvSpPr>
              <p:nvPr/>
            </p:nvSpPr>
            <p:spPr bwMode="auto">
              <a:xfrm>
                <a:off x="1908688" y="2206071"/>
                <a:ext cx="1558749" cy="2759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79A2B3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3447" tIns="36722" rIns="73447" bIns="36722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buSzPct val="100000"/>
                </a:pPr>
                <a:r>
                  <a:rPr lang="en-US" altLang="en-US" sz="1400" b="1" dirty="0">
                    <a:solidFill>
                      <a:srgbClr val="000000"/>
                    </a:solidFill>
                    <a:latin typeface="Sakkal Majalla" panose="02000000000000000000" pitchFamily="2" charset="-78"/>
                    <a:cs typeface="Sakkal Majalla" panose="02000000000000000000" pitchFamily="2" charset="-78"/>
                  </a:rPr>
                  <a:t>Some Text</a:t>
                </a:r>
                <a:endParaRPr lang="ar-JO" altLang="en-US" sz="1400" b="1" dirty="0">
                  <a:solidFill>
                    <a:srgbClr val="0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</p:txBody>
          </p:sp>
          <p:sp>
            <p:nvSpPr>
              <p:cNvPr id="10258" name="TextBox 170"/>
              <p:cNvSpPr txBox="1">
                <a:spLocks noChangeArrowheads="1"/>
              </p:cNvSpPr>
              <p:nvPr/>
            </p:nvSpPr>
            <p:spPr bwMode="auto">
              <a:xfrm rot="1129519">
                <a:off x="4246056" y="2342655"/>
                <a:ext cx="1560261" cy="2759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3447" tIns="36722" rIns="73447" bIns="36722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buSzPct val="100000"/>
                </a:pPr>
                <a:r>
                  <a:rPr lang="en-US" altLang="en-US" sz="1400" b="1" dirty="0">
                    <a:solidFill>
                      <a:srgbClr val="000000"/>
                    </a:solidFill>
                    <a:latin typeface="Sakkal Majalla" panose="02000000000000000000" pitchFamily="2" charset="-78"/>
                    <a:cs typeface="Sakkal Majalla" panose="02000000000000000000" pitchFamily="2" charset="-78"/>
                  </a:rPr>
                  <a:t>Some Text</a:t>
                </a:r>
                <a:endParaRPr lang="ar-JO" altLang="en-US" sz="1400" b="1" dirty="0">
                  <a:solidFill>
                    <a:srgbClr val="0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</p:txBody>
          </p:sp>
          <p:sp>
            <p:nvSpPr>
              <p:cNvPr id="10259" name="TextBox 171"/>
              <p:cNvSpPr txBox="1">
                <a:spLocks noChangeArrowheads="1"/>
              </p:cNvSpPr>
              <p:nvPr/>
            </p:nvSpPr>
            <p:spPr bwMode="auto">
              <a:xfrm>
                <a:off x="7154915" y="2473834"/>
                <a:ext cx="1558749" cy="2759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3447" tIns="36722" rIns="73447" bIns="36722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buSzPct val="100000"/>
                </a:pPr>
                <a:r>
                  <a:rPr lang="en-US" altLang="en-US" sz="1400" b="1" dirty="0">
                    <a:solidFill>
                      <a:srgbClr val="000000"/>
                    </a:solidFill>
                    <a:latin typeface="Sakkal Majalla" panose="02000000000000000000" pitchFamily="2" charset="-78"/>
                    <a:cs typeface="Sakkal Majalla" panose="02000000000000000000" pitchFamily="2" charset="-78"/>
                  </a:rPr>
                  <a:t>Some Text</a:t>
                </a:r>
                <a:endParaRPr lang="ar-JO" altLang="en-US" sz="1400" b="1" dirty="0">
                  <a:solidFill>
                    <a:srgbClr val="0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</p:txBody>
          </p:sp>
          <p:sp>
            <p:nvSpPr>
              <p:cNvPr id="10260" name="Rectangle 172"/>
              <p:cNvSpPr>
                <a:spLocks noChangeArrowheads="1"/>
              </p:cNvSpPr>
              <p:nvPr/>
            </p:nvSpPr>
            <p:spPr bwMode="auto">
              <a:xfrm>
                <a:off x="6971195" y="1547297"/>
                <a:ext cx="2635209" cy="6587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72291" tIns="72291" rIns="72291" bIns="72291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l" eaLnBrk="1" hangingPunct="1">
                  <a:buSzPct val="100000"/>
                </a:pPr>
                <a:r>
                  <a:rPr lang="en-US" altLang="en-US" sz="1400" b="1" dirty="0">
                    <a:solidFill>
                      <a:srgbClr val="006234"/>
                    </a:solidFill>
                    <a:latin typeface="Sakkal Majalla" panose="02000000000000000000" pitchFamily="2" charset="-78"/>
                    <a:cs typeface="Sakkal Majalla" panose="02000000000000000000" pitchFamily="2" charset="-78"/>
                  </a:rPr>
                  <a:t>Some Text</a:t>
                </a:r>
                <a:endParaRPr lang="ar-JO" altLang="en-US" sz="1400" b="1" dirty="0">
                  <a:solidFill>
                    <a:srgbClr val="006234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</p:txBody>
          </p:sp>
          <p:sp>
            <p:nvSpPr>
              <p:cNvPr id="174" name="TextBox 173"/>
              <p:cNvSpPr txBox="1"/>
              <p:nvPr/>
            </p:nvSpPr>
            <p:spPr>
              <a:xfrm>
                <a:off x="3689684" y="2234815"/>
                <a:ext cx="996330" cy="527732"/>
              </a:xfrm>
              <a:prstGeom prst="rect">
                <a:avLst/>
              </a:prstGeom>
              <a:noFill/>
            </p:spPr>
            <p:txBody>
              <a:bodyPr lIns="73447" tIns="72291" rIns="73447" bIns="72291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050" b="1" u="sng" dirty="0">
                  <a:solidFill>
                    <a:srgbClr val="0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600" b="1" u="sng" dirty="0">
                  <a:solidFill>
                    <a:srgbClr val="0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</p:txBody>
          </p:sp>
          <p:sp>
            <p:nvSpPr>
              <p:cNvPr id="10262" name="Rectangle 174"/>
              <p:cNvSpPr>
                <a:spLocks noChangeArrowheads="1"/>
              </p:cNvSpPr>
              <p:nvPr/>
            </p:nvSpPr>
            <p:spPr bwMode="auto">
              <a:xfrm>
                <a:off x="1440989" y="1592877"/>
                <a:ext cx="3073653" cy="4598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72291" tIns="72291" rIns="72291" bIns="72291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l" eaLnBrk="1" hangingPunct="1">
                  <a:buSzPct val="100000"/>
                </a:pPr>
                <a:r>
                  <a:rPr lang="en-US" altLang="en-US" sz="1400" b="1" dirty="0">
                    <a:solidFill>
                      <a:srgbClr val="006234"/>
                    </a:solidFill>
                    <a:latin typeface="Sakkal Majalla" panose="02000000000000000000" pitchFamily="2" charset="-78"/>
                    <a:cs typeface="Sakkal Majalla" panose="02000000000000000000" pitchFamily="2" charset="-78"/>
                  </a:rPr>
                  <a:t>Some Text</a:t>
                </a:r>
                <a:endParaRPr lang="ar-JO" altLang="en-US" sz="1400" b="1" dirty="0">
                  <a:solidFill>
                    <a:srgbClr val="006234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</p:txBody>
          </p:sp>
          <p:cxnSp>
            <p:nvCxnSpPr>
              <p:cNvPr id="176" name="Straight Connector 175"/>
              <p:cNvCxnSpPr>
                <a:stCxn id="10266" idx="3"/>
              </p:cNvCxnSpPr>
              <p:nvPr/>
            </p:nvCxnSpPr>
            <p:spPr>
              <a:xfrm flipV="1">
                <a:off x="4504588" y="2970028"/>
                <a:ext cx="402158" cy="167953"/>
              </a:xfrm>
              <a:prstGeom prst="line">
                <a:avLst/>
              </a:prstGeom>
              <a:ln>
                <a:solidFill>
                  <a:srgbClr val="4D4D4D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4194652" y="2056307"/>
                <a:ext cx="491362" cy="208764"/>
              </a:xfrm>
              <a:prstGeom prst="line">
                <a:avLst/>
              </a:prstGeom>
              <a:ln>
                <a:solidFill>
                  <a:srgbClr val="4D4D4D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>
                <a:stCxn id="10260" idx="2"/>
              </p:cNvCxnSpPr>
              <p:nvPr/>
            </p:nvCxnSpPr>
            <p:spPr>
              <a:xfrm flipH="1">
                <a:off x="7897249" y="2206071"/>
                <a:ext cx="391551" cy="260199"/>
              </a:xfrm>
              <a:prstGeom prst="line">
                <a:avLst/>
              </a:prstGeom>
              <a:ln>
                <a:solidFill>
                  <a:srgbClr val="4D4D4D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66" name="Rectangle 178"/>
              <p:cNvSpPr>
                <a:spLocks noChangeArrowheads="1"/>
              </p:cNvSpPr>
              <p:nvPr/>
            </p:nvSpPr>
            <p:spPr bwMode="auto">
              <a:xfrm>
                <a:off x="1986050" y="2769637"/>
                <a:ext cx="2518538" cy="7366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72291" tIns="72291" rIns="72291" bIns="72291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l" eaLnBrk="1" hangingPunct="1">
                  <a:buSzPct val="100000"/>
                </a:pPr>
                <a:r>
                  <a:rPr lang="en-US" altLang="en-US" sz="1400" b="1" dirty="0">
                    <a:solidFill>
                      <a:srgbClr val="006234"/>
                    </a:solidFill>
                    <a:latin typeface="Sakkal Majalla" panose="02000000000000000000" pitchFamily="2" charset="-78"/>
                    <a:cs typeface="Sakkal Majalla" panose="02000000000000000000" pitchFamily="2" charset="-78"/>
                  </a:rPr>
                  <a:t>Some Text</a:t>
                </a:r>
                <a:endParaRPr lang="ar-JO" altLang="en-US" sz="1400" b="1" dirty="0">
                  <a:solidFill>
                    <a:srgbClr val="006234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</p:txBody>
          </p:sp>
          <p:sp>
            <p:nvSpPr>
              <p:cNvPr id="180" name="Freeform 179"/>
              <p:cNvSpPr/>
              <p:nvPr/>
            </p:nvSpPr>
            <p:spPr>
              <a:xfrm rot="298530" flipV="1">
                <a:off x="5030723" y="2762775"/>
                <a:ext cx="2415986" cy="400887"/>
              </a:xfrm>
              <a:custGeom>
                <a:avLst/>
                <a:gdLst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  <a:gd name="connsiteX0" fmla="*/ 0 w 1774521"/>
                  <a:gd name="connsiteY0" fmla="*/ 212942 h 634652"/>
                  <a:gd name="connsiteX1" fmla="*/ 818367 w 1774521"/>
                  <a:gd name="connsiteY1" fmla="*/ 179540 h 634652"/>
                  <a:gd name="connsiteX2" fmla="*/ 1448844 w 1774521"/>
                  <a:gd name="connsiteY2" fmla="*/ 196241 h 634652"/>
                  <a:gd name="connsiteX3" fmla="*/ 1448844 w 1774521"/>
                  <a:gd name="connsiteY3" fmla="*/ 0 h 634652"/>
                  <a:gd name="connsiteX4" fmla="*/ 1774521 w 1774521"/>
                  <a:gd name="connsiteY4" fmla="*/ 313151 h 634652"/>
                  <a:gd name="connsiteX5" fmla="*/ 1448844 w 1774521"/>
                  <a:gd name="connsiteY5" fmla="*/ 634652 h 634652"/>
                  <a:gd name="connsiteX6" fmla="*/ 1448844 w 1774521"/>
                  <a:gd name="connsiteY6" fmla="*/ 421710 h 634652"/>
                  <a:gd name="connsiteX7" fmla="*/ 931102 w 1774521"/>
                  <a:gd name="connsiteY7" fmla="*/ 413359 h 634652"/>
                  <a:gd name="connsiteX8" fmla="*/ 0 w 1774521"/>
                  <a:gd name="connsiteY8" fmla="*/ 212942 h 63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4521" h="634652">
                    <a:moveTo>
                      <a:pt x="0" y="212942"/>
                    </a:moveTo>
                    <a:cubicBezTo>
                      <a:pt x="251913" y="80723"/>
                      <a:pt x="662487" y="157272"/>
                      <a:pt x="818367" y="179540"/>
                    </a:cubicBezTo>
                    <a:cubicBezTo>
                      <a:pt x="1032701" y="201809"/>
                      <a:pt x="1238685" y="190674"/>
                      <a:pt x="1448844" y="196241"/>
                    </a:cubicBezTo>
                    <a:lnTo>
                      <a:pt x="1448844" y="0"/>
                    </a:lnTo>
                    <a:lnTo>
                      <a:pt x="1774521" y="313151"/>
                    </a:lnTo>
                    <a:lnTo>
                      <a:pt x="1448844" y="634652"/>
                    </a:lnTo>
                    <a:lnTo>
                      <a:pt x="1448844" y="421710"/>
                    </a:lnTo>
                    <a:lnTo>
                      <a:pt x="931102" y="413359"/>
                    </a:lnTo>
                    <a:cubicBezTo>
                      <a:pt x="620735" y="409183"/>
                      <a:pt x="427277" y="179540"/>
                      <a:pt x="0" y="212942"/>
                    </a:cubicBez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bg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solidFill>
                    <a:srgbClr val="0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</p:txBody>
          </p:sp>
          <p:sp>
            <p:nvSpPr>
              <p:cNvPr id="10268" name="TextBox 180"/>
              <p:cNvSpPr txBox="1">
                <a:spLocks noChangeArrowheads="1"/>
              </p:cNvSpPr>
              <p:nvPr/>
            </p:nvSpPr>
            <p:spPr bwMode="auto">
              <a:xfrm rot="287298">
                <a:off x="6429040" y="2866076"/>
                <a:ext cx="733602" cy="2759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73447" tIns="36722" rIns="73447" bIns="36722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l" eaLnBrk="1" hangingPunct="1">
                  <a:buSzPct val="100000"/>
                </a:pPr>
                <a:r>
                  <a:rPr lang="en-US" altLang="en-US" sz="1400" b="1" dirty="0">
                    <a:solidFill>
                      <a:srgbClr val="000000"/>
                    </a:solidFill>
                    <a:latin typeface="Sakkal Majalla" panose="02000000000000000000" pitchFamily="2" charset="-78"/>
                    <a:cs typeface="Sakkal Majalla" panose="02000000000000000000" pitchFamily="2" charset="-78"/>
                  </a:rPr>
                  <a:t>Some Text</a:t>
                </a:r>
                <a:endParaRPr lang="ar-JO" altLang="en-US" sz="1400" b="1" dirty="0">
                  <a:solidFill>
                    <a:srgbClr val="00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</p:txBody>
          </p:sp>
          <p:sp>
            <p:nvSpPr>
              <p:cNvPr id="10269" name="Rectangle 181"/>
              <p:cNvSpPr>
                <a:spLocks noChangeArrowheads="1"/>
              </p:cNvSpPr>
              <p:nvPr/>
            </p:nvSpPr>
            <p:spPr bwMode="auto">
              <a:xfrm>
                <a:off x="4504587" y="1507164"/>
                <a:ext cx="2355510" cy="7094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72291" tIns="72291" rIns="72291" bIns="72291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l" eaLnBrk="1" hangingPunct="1">
                  <a:buSzPct val="100000"/>
                </a:pPr>
                <a:r>
                  <a:rPr lang="en-US" altLang="en-US" sz="1400" b="1" dirty="0">
                    <a:solidFill>
                      <a:srgbClr val="006234"/>
                    </a:solidFill>
                    <a:latin typeface="Sakkal Majalla" panose="02000000000000000000" pitchFamily="2" charset="-78"/>
                    <a:cs typeface="Sakkal Majalla" panose="02000000000000000000" pitchFamily="2" charset="-78"/>
                  </a:rPr>
                  <a:t>Some Text</a:t>
                </a:r>
                <a:endParaRPr lang="ar-JO" altLang="en-US" sz="1400" b="1" dirty="0">
                  <a:solidFill>
                    <a:srgbClr val="006234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endParaRPr>
              </a:p>
            </p:txBody>
          </p:sp>
          <p:cxnSp>
            <p:nvCxnSpPr>
              <p:cNvPr id="183" name="Straight Connector 182"/>
              <p:cNvCxnSpPr>
                <a:stCxn id="10269" idx="2"/>
              </p:cNvCxnSpPr>
              <p:nvPr/>
            </p:nvCxnSpPr>
            <p:spPr>
              <a:xfrm>
                <a:off x="5682342" y="2216661"/>
                <a:ext cx="455076" cy="384247"/>
              </a:xfrm>
              <a:prstGeom prst="line">
                <a:avLst/>
              </a:prstGeom>
              <a:ln>
                <a:solidFill>
                  <a:srgbClr val="4D4D4D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4" name="Rectangle 183"/>
            <p:cNvSpPr/>
            <p:nvPr/>
          </p:nvSpPr>
          <p:spPr>
            <a:xfrm>
              <a:off x="861913" y="2284276"/>
              <a:ext cx="425443" cy="101341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10252" name="Arrow: Pentagon 24"/>
            <p:cNvSpPr>
              <a:spLocks noChangeArrowheads="1"/>
            </p:cNvSpPr>
            <p:nvPr/>
          </p:nvSpPr>
          <p:spPr bwMode="auto">
            <a:xfrm rot="10800000" flipH="1">
              <a:off x="534893" y="1507538"/>
              <a:ext cx="492117" cy="2098303"/>
            </a:xfrm>
            <a:prstGeom prst="homePlate">
              <a:avLst>
                <a:gd name="adj" fmla="val 30125"/>
              </a:avLst>
            </a:prstGeom>
            <a:solidFill>
              <a:schemeClr val="hlink"/>
            </a:solidFill>
            <a:ln w="6350" algn="ctr">
              <a:solidFill>
                <a:srgbClr val="4C966F"/>
              </a:solidFill>
              <a:miter lim="800000"/>
              <a:headEnd/>
              <a:tailEnd/>
            </a:ln>
          </p:spPr>
          <p:txBody>
            <a:bodyPr vert="eaVert" anchor="ctr"/>
            <a:lstStyle>
              <a:lvl1pPr defTabSz="457200">
                <a:buFont typeface="Arial" panose="020B0604020202020204" pitchFamily="34" charset="0"/>
                <a:defRPr sz="1600" b="1">
                  <a:solidFill>
                    <a:schemeClr val="tx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defRPr>
              </a:lvl1pPr>
              <a:lvl2pPr indent="457200" defTabSz="457200">
                <a:buClr>
                  <a:srgbClr val="006234"/>
                </a:buClr>
                <a:buFont typeface="Anivers"/>
                <a:buChar char="•"/>
                <a:defRPr sz="1600">
                  <a:solidFill>
                    <a:schemeClr val="tx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defRPr>
              </a:lvl2pPr>
              <a:lvl3pPr marL="685800" indent="914400" defTabSz="457200">
                <a:buClr>
                  <a:srgbClr val="006234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defRPr>
              </a:lvl3pPr>
              <a:lvl4pPr marL="914400" indent="1371600" defTabSz="457200">
                <a:buClr>
                  <a:srgbClr val="006234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defRPr>
              </a:lvl4pPr>
              <a:lvl5pPr marL="1143000" indent="1828800" defTabSz="457200">
                <a:buClr>
                  <a:srgbClr val="006234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defRPr>
              </a:lvl5pPr>
              <a:lvl6pPr marL="1600200" indent="18288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6234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defRPr>
              </a:lvl6pPr>
              <a:lvl7pPr marL="2057400" indent="18288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6234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defRPr>
              </a:lvl7pPr>
              <a:lvl8pPr marL="2514600" indent="18288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6234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defRPr>
              </a:lvl8pPr>
              <a:lvl9pPr marL="2971800" indent="18288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6234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defRPr>
              </a:lvl9pPr>
            </a:lstStyle>
            <a:p>
              <a:pPr algn="ctr" eaLnBrk="1" hangingPunct="1"/>
              <a:r>
                <a:rPr lang="en-US" altLang="en-US" sz="2000" dirty="0">
                  <a:solidFill>
                    <a:srgbClr val="FFFFFF"/>
                  </a:solidFill>
                  <a:sym typeface="DIN Next LT Arabic" panose="020B0503020203050203" pitchFamily="34" charset="-78"/>
                </a:rPr>
                <a:t>Some Text</a:t>
              </a:r>
              <a:endParaRPr lang="ar-JO" altLang="en-US" sz="2000" dirty="0">
                <a:solidFill>
                  <a:srgbClr val="FFFFFF"/>
                </a:solidFill>
                <a:sym typeface="DIN Next LT Arabic" panose="020B0503020203050203" pitchFamily="34" charset="-78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2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Straight Connector 36"/>
          <p:cNvCxnSpPr>
            <a:stCxn id="38" idx="4"/>
            <a:endCxn id="40" idx="0"/>
          </p:cNvCxnSpPr>
          <p:nvPr/>
        </p:nvCxnSpPr>
        <p:spPr>
          <a:xfrm flipH="1">
            <a:off x="6524625" y="2835275"/>
            <a:ext cx="0" cy="2208213"/>
          </a:xfrm>
          <a:prstGeom prst="line">
            <a:avLst/>
          </a:prstGeom>
          <a:ln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NumberBall"/>
          <p:cNvSpPr>
            <a:spLocks noChangeArrowheads="1"/>
          </p:cNvSpPr>
          <p:nvPr/>
        </p:nvSpPr>
        <p:spPr bwMode="gray">
          <a:xfrm flipH="1">
            <a:off x="6229350" y="2244725"/>
            <a:ext cx="590550" cy="59055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SzPct val="100000"/>
              <a:defRPr/>
            </a:pPr>
            <a:endParaRPr lang="ar-JO" sz="2800" b="1" dirty="0">
              <a:solidFill>
                <a:srgbClr val="FFFFFF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39" name="NumberBall"/>
          <p:cNvSpPr>
            <a:spLocks noChangeArrowheads="1"/>
          </p:cNvSpPr>
          <p:nvPr/>
        </p:nvSpPr>
        <p:spPr bwMode="gray">
          <a:xfrm flipH="1">
            <a:off x="2954338" y="2247900"/>
            <a:ext cx="590550" cy="59055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SzPct val="100000"/>
              <a:defRPr/>
            </a:pPr>
            <a:endParaRPr lang="ar-JO" sz="2800" b="1" dirty="0">
              <a:solidFill>
                <a:srgbClr val="FFFFFF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40" name="NumberBall"/>
          <p:cNvSpPr>
            <a:spLocks noChangeArrowheads="1"/>
          </p:cNvSpPr>
          <p:nvPr/>
        </p:nvSpPr>
        <p:spPr bwMode="gray">
          <a:xfrm flipH="1">
            <a:off x="6229350" y="5043488"/>
            <a:ext cx="590550" cy="59055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SzPct val="100000"/>
              <a:defRPr/>
            </a:pPr>
            <a:endParaRPr lang="ar-JO" sz="2800" b="1" dirty="0">
              <a:solidFill>
                <a:srgbClr val="FFFFFF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41" name="NumberBall"/>
          <p:cNvSpPr>
            <a:spLocks noChangeArrowheads="1"/>
          </p:cNvSpPr>
          <p:nvPr/>
        </p:nvSpPr>
        <p:spPr bwMode="gray">
          <a:xfrm flipH="1">
            <a:off x="2954338" y="5043488"/>
            <a:ext cx="590550" cy="590550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SzPct val="100000"/>
              <a:defRPr/>
            </a:pPr>
            <a:endParaRPr lang="ar-JO" sz="2800" b="1" dirty="0">
              <a:solidFill>
                <a:srgbClr val="FFFFFF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cxnSp>
        <p:nvCxnSpPr>
          <p:cNvPr id="42" name="Straight Connector 41"/>
          <p:cNvCxnSpPr>
            <a:stCxn id="38" idx="6"/>
            <a:endCxn id="39" idx="2"/>
          </p:cNvCxnSpPr>
          <p:nvPr/>
        </p:nvCxnSpPr>
        <p:spPr>
          <a:xfrm flipH="1">
            <a:off x="3544888" y="2540000"/>
            <a:ext cx="2684462" cy="3175"/>
          </a:xfrm>
          <a:prstGeom prst="line">
            <a:avLst/>
          </a:prstGeom>
          <a:ln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Diamond 42"/>
          <p:cNvSpPr/>
          <p:nvPr/>
        </p:nvSpPr>
        <p:spPr>
          <a:xfrm flipH="1">
            <a:off x="3567113" y="2651125"/>
            <a:ext cx="2640012" cy="2533650"/>
          </a:xfrm>
          <a:prstGeom prst="diamond">
            <a:avLst/>
          </a:prstGeom>
          <a:solidFill>
            <a:srgbClr val="D2E0E6"/>
          </a:solidFill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0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pic>
        <p:nvPicPr>
          <p:cNvPr id="12307" name="clipart_technology_compute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6238" y="3454400"/>
            <a:ext cx="1289050" cy="133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cxnSp>
        <p:nvCxnSpPr>
          <p:cNvPr id="45" name="Straight Connector 44"/>
          <p:cNvCxnSpPr>
            <a:stCxn id="41" idx="2"/>
            <a:endCxn id="40" idx="6"/>
          </p:cNvCxnSpPr>
          <p:nvPr/>
        </p:nvCxnSpPr>
        <p:spPr>
          <a:xfrm>
            <a:off x="3544888" y="5338763"/>
            <a:ext cx="2684462" cy="0"/>
          </a:xfrm>
          <a:prstGeom prst="line">
            <a:avLst/>
          </a:prstGeom>
          <a:ln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39" idx="4"/>
            <a:endCxn id="41" idx="0"/>
          </p:cNvCxnSpPr>
          <p:nvPr/>
        </p:nvCxnSpPr>
        <p:spPr>
          <a:xfrm flipH="1">
            <a:off x="3249613" y="2838450"/>
            <a:ext cx="0" cy="2205038"/>
          </a:xfrm>
          <a:prstGeom prst="line">
            <a:avLst/>
          </a:prstGeom>
          <a:ln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10" name="TextBox 46"/>
          <p:cNvSpPr txBox="1">
            <a:spLocks noChangeArrowheads="1"/>
          </p:cNvSpPr>
          <p:nvPr/>
        </p:nvSpPr>
        <p:spPr bwMode="auto">
          <a:xfrm flipH="1">
            <a:off x="4087018" y="3285580"/>
            <a:ext cx="1584325" cy="397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90000" bIns="90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SzPct val="100000"/>
            </a:pPr>
            <a:r>
              <a:rPr lang="en-US" altLang="en-US" sz="1400" b="1" dirty="0">
                <a:solidFill>
                  <a:srgbClr val="00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Some Text</a:t>
            </a:r>
            <a:endParaRPr lang="ar-JO" altLang="en-US" sz="1400" b="1" dirty="0">
              <a:solidFill>
                <a:srgbClr val="0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48" name="Rectangle 47"/>
          <p:cNvSpPr/>
          <p:nvPr/>
        </p:nvSpPr>
        <p:spPr>
          <a:xfrm rot="2626496" flipH="1">
            <a:off x="4783138" y="2943225"/>
            <a:ext cx="1846262" cy="3397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rgbClr val="B2B2B2"/>
            </a:solidFill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000" rIns="54864" bIns="54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SzPct val="100000"/>
              <a:defRPr/>
            </a:pPr>
            <a:r>
              <a:rPr lang="en-US" sz="1000" b="1" dirty="0">
                <a:solidFill>
                  <a:srgbClr val="00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Some Text</a:t>
            </a:r>
            <a:endParaRPr lang="ar-JO" sz="1000" b="1" dirty="0">
              <a:solidFill>
                <a:srgbClr val="0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53" name="Rectangle 52"/>
          <p:cNvSpPr/>
          <p:nvPr/>
        </p:nvSpPr>
        <p:spPr>
          <a:xfrm rot="18966785" flipH="1">
            <a:off x="3122613" y="2952750"/>
            <a:ext cx="1846262" cy="3397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rgbClr val="B2B2B2"/>
            </a:solidFill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000" rIns="54864" bIns="54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SzPct val="100000"/>
              <a:defRPr/>
            </a:pPr>
            <a:r>
              <a:rPr lang="en-US" sz="1000" b="1" dirty="0">
                <a:solidFill>
                  <a:srgbClr val="00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Some Text</a:t>
            </a:r>
            <a:endParaRPr lang="ar-JO" sz="1000" b="1" dirty="0">
              <a:solidFill>
                <a:srgbClr val="0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55" name="Rectangle 54"/>
          <p:cNvSpPr/>
          <p:nvPr/>
        </p:nvSpPr>
        <p:spPr>
          <a:xfrm rot="2664032" flipH="1">
            <a:off x="3113088" y="4565650"/>
            <a:ext cx="1846262" cy="3397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rgbClr val="B2B2B2"/>
            </a:solidFill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000" rIns="54864" bIns="54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SzPct val="100000"/>
              <a:defRPr/>
            </a:pPr>
            <a:r>
              <a:rPr lang="en-US" sz="1000" b="1" dirty="0">
                <a:solidFill>
                  <a:srgbClr val="00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Some Text</a:t>
            </a:r>
            <a:endParaRPr lang="ar-JO" sz="1000" b="1" dirty="0">
              <a:solidFill>
                <a:srgbClr val="0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57" name="Rectangle 56"/>
          <p:cNvSpPr/>
          <p:nvPr/>
        </p:nvSpPr>
        <p:spPr>
          <a:xfrm rot="18966785" flipH="1">
            <a:off x="4799013" y="4565650"/>
            <a:ext cx="1846262" cy="3397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rgbClr val="B2B2B2"/>
            </a:solidFill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000" rIns="54864" bIns="54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SzPct val="100000"/>
              <a:defRPr/>
            </a:pPr>
            <a:r>
              <a:rPr lang="en-US" sz="1000" b="1" dirty="0">
                <a:solidFill>
                  <a:srgbClr val="00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Some Text</a:t>
            </a:r>
            <a:endParaRPr lang="ar-JO" sz="1000" b="1" dirty="0">
              <a:solidFill>
                <a:srgbClr val="00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.&lt;/m_chDecimalSymbol17909&gt;&lt;m_nGroupingDigits17909 val=&quot;3&quot;/&gt;&lt;m_chGroupingSymbol17909&gt; 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lide">
  <a:themeElements>
    <a:clrScheme name="MoL">
      <a:dk1>
        <a:srgbClr val="404040"/>
      </a:dk1>
      <a:lt1>
        <a:sysClr val="window" lastClr="FFFFFF"/>
      </a:lt1>
      <a:dk2>
        <a:srgbClr val="006234"/>
      </a:dk2>
      <a:lt2>
        <a:srgbClr val="C4C4C4"/>
      </a:lt2>
      <a:accent1>
        <a:srgbClr val="FBBA00"/>
      </a:accent1>
      <a:accent2>
        <a:srgbClr val="6E9817"/>
      </a:accent2>
      <a:accent3>
        <a:srgbClr val="E0E0E0"/>
      </a:accent3>
      <a:accent4>
        <a:srgbClr val="404040"/>
      </a:accent4>
      <a:accent5>
        <a:srgbClr val="91703C"/>
      </a:accent5>
      <a:accent6>
        <a:srgbClr val="C79900"/>
      </a:accent6>
      <a:hlink>
        <a:srgbClr val="006234"/>
      </a:hlink>
      <a:folHlink>
        <a:srgbClr val="6E981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  <a:effectLst/>
      </a:spPr>
      <a:bodyPr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B40B0F7-1E65-44B1-BD64-BC78C1012695}" vid="{D122212F-AE07-47A4-B71C-1626A1CFA77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8</TotalTime>
  <Words>32</Words>
  <Application>Microsoft Office PowerPoint</Application>
  <PresentationFormat>A4 Paper (210x297 mm)</PresentationFormat>
  <Paragraphs>1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0" baseType="lpstr">
      <vt:lpstr>Anivers</vt:lpstr>
      <vt:lpstr>Arial</vt:lpstr>
      <vt:lpstr>Calibri</vt:lpstr>
      <vt:lpstr>DIN Next LT Arabic</vt:lpstr>
      <vt:lpstr>Sakkal Majalla</vt:lpstr>
      <vt:lpstr>Master Slide</vt:lpstr>
      <vt:lpstr>think-cell Slide</vt:lpstr>
      <vt:lpstr>PowerPoint Presentation</vt:lpstr>
      <vt:lpstr>PowerPoint Presentation</vt:lpstr>
      <vt:lpstr>PowerPoint Presentation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/>
  <cp:lastModifiedBy>Ahmad H. Al Harthi</cp:lastModifiedBy>
  <cp:revision>255</cp:revision>
  <dcterms:created xsi:type="dcterms:W3CDTF">2010-04-13T12:31:45Z</dcterms:created>
  <dcterms:modified xsi:type="dcterms:W3CDTF">2017-08-13T12:03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KSA_MLSD</vt:lpwstr>
  </property>
  <property fmtid="{D5CDD505-2E9C-101B-9397-08002B2CF9AE}" pid="4" name="Template Name">
    <vt:lpwstr>A4</vt:lpwstr>
  </property>
</Properties>
</file>